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3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391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1E37"/>
    <a:srgbClr val="0C3392"/>
    <a:srgbClr val="7B1C82"/>
    <a:srgbClr val="0A2B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348" autoAdjust="0"/>
    <p:restoredTop sz="94694" autoAdjust="0"/>
  </p:normalViewPr>
  <p:slideViewPr>
    <p:cSldViewPr snapToGrid="0">
      <p:cViewPr varScale="1">
        <p:scale>
          <a:sx n="105" d="100"/>
          <a:sy n="105" d="100"/>
        </p:scale>
        <p:origin x="1044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9" d="100"/>
        <a:sy n="109" d="100"/>
      </p:scale>
      <p:origin x="0" y="-27228"/>
    </p:cViewPr>
  </p:sorterViewPr>
  <p:notesViewPr>
    <p:cSldViewPr snapToGrid="0">
      <p:cViewPr varScale="1">
        <p:scale>
          <a:sx n="118" d="100"/>
          <a:sy n="118" d="100"/>
        </p:scale>
        <p:origin x="395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BEC-4D3B-AAD9-B280FEFAF56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BEC-4D3B-AAD9-B280FEFAF56F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BEC-4D3B-AAD9-B280FEFAF56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286200640"/>
        <c:axId val="286198240"/>
      </c:barChart>
      <c:catAx>
        <c:axId val="2862006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86198240"/>
        <c:crosses val="autoZero"/>
        <c:auto val="1"/>
        <c:lblAlgn val="ctr"/>
        <c:lblOffset val="100"/>
        <c:noMultiLvlLbl val="0"/>
      </c:catAx>
      <c:valAx>
        <c:axId val="28619824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862006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517-4AB9-844E-9DBA478DB6B5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517-4AB9-844E-9DBA478DB6B5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517-4AB9-844E-9DBA478DB6B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286200640"/>
        <c:axId val="286198240"/>
      </c:barChart>
      <c:catAx>
        <c:axId val="2862006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86198240"/>
        <c:crosses val="autoZero"/>
        <c:auto val="1"/>
        <c:lblAlgn val="ctr"/>
        <c:lblOffset val="100"/>
        <c:noMultiLvlLbl val="0"/>
      </c:catAx>
      <c:valAx>
        <c:axId val="28619824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862006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E69EB12-F07F-FCE1-0932-A41C6D6CED9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8A1B8DA-7AE0-6B6B-8C17-3D1707D7C0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E001A9-A6A7-474B-89C3-8D3A50641464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1055AF-F5AB-137F-8019-F6B3846B85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DD1229-7ED6-1F3A-C356-6F4A00CBBDA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401333-2154-144A-8768-C66A054D67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0617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828F12-7134-4D28-A3B7-F509A2433036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8C9E73-F2F7-4C58-BF31-7F38D6994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1106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9.bin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10" Type="http://schemas.openxmlformats.org/officeDocument/2006/relationships/image" Target="../media/image1.emf"/><Relationship Id="rId4" Type="http://schemas.openxmlformats.org/officeDocument/2006/relationships/tags" Target="../tags/tag64.xml"/><Relationship Id="rId9" Type="http://schemas.openxmlformats.org/officeDocument/2006/relationships/oleObject" Target="../embeddings/oleObject17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image" Target="../media/image1.emf"/><Relationship Id="rId5" Type="http://schemas.openxmlformats.org/officeDocument/2006/relationships/tags" Target="../tags/tag72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71.xml"/><Relationship Id="rId9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8.xml"/><Relationship Id="rId7" Type="http://schemas.openxmlformats.org/officeDocument/2006/relationships/oleObject" Target="../embeddings/oleObject18.bin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8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4" Type="http://schemas.openxmlformats.org/officeDocument/2006/relationships/tags" Target="../tags/tag84.xml"/><Relationship Id="rId9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5" Type="http://schemas.openxmlformats.org/officeDocument/2006/relationships/tags" Target="../tags/tag100.xml"/><Relationship Id="rId10" Type="http://schemas.openxmlformats.org/officeDocument/2006/relationships/image" Target="../media/image1.emf"/><Relationship Id="rId4" Type="http://schemas.openxmlformats.org/officeDocument/2006/relationships/tags" Target="../tags/tag99.xml"/><Relationship Id="rId9" Type="http://schemas.openxmlformats.org/officeDocument/2006/relationships/oleObject" Target="../embeddings/oleObject2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2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.xml"/><Relationship Id="rId7" Type="http://schemas.openxmlformats.org/officeDocument/2006/relationships/oleObject" Target="../embeddings/oleObject8.bin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211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5810C454-D89E-EC5F-1F64-95272C51E8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F58E53A-1EDF-D230-2923-BEE32B624E3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0D2E45-F7D8-6A81-3633-24881FD1C8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5A3EDAF9-B324-78D2-8561-A45CB9F0A4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716853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858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5244083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6393179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3179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6393179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1244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4639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11082525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3" name="Chart Placeholder 4">
            <a:extLst>
              <a:ext uri="{FF2B5EF4-FFF2-40B4-BE49-F238E27FC236}">
                <a16:creationId xmlns:a16="http://schemas.microsoft.com/office/drawing/2014/main" id="{9AA0A734-1675-CDE2-802C-4FD228E34AD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393181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0A50981B-A906-6182-8292-13660B37DD8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4629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361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F5AA5D8A-9DB7-A049-4F45-7247BA18ED19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91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5414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B1E75FE-E1B4-D475-C5E7-4955D304FA7B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E6FD4F9F-6662-221D-B78A-C9CBA3D80D0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D1D7625B-F41A-14BB-D027-A833618AB78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3517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8183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5016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5529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FAFE9C5-9E7A-0903-07CB-76D3730A7381}"/>
              </a:ext>
            </a:extLst>
          </p:cNvPr>
          <p:cNvCxnSpPr>
            <a:cxnSpLocks/>
          </p:cNvCxnSpPr>
          <p:nvPr userDrawn="1"/>
        </p:nvCxnSpPr>
        <p:spPr>
          <a:xfrm>
            <a:off x="804614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5BD6B04-1DDF-1389-8CE0-C40D8B10D681}"/>
              </a:ext>
            </a:extLst>
          </p:cNvPr>
          <p:cNvCxnSpPr>
            <a:cxnSpLocks/>
          </p:cNvCxnSpPr>
          <p:nvPr userDrawn="1"/>
        </p:nvCxnSpPr>
        <p:spPr>
          <a:xfrm>
            <a:off x="414586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E45F2E3A-721C-A9E9-4D28-2709544B94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1C2863FB-447D-20E0-DCCC-885C638D677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35529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212B8D1D-0A7D-D292-9681-219F15EF2C3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55016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43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2659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50220AE-28C6-9B09-005A-97ADC15B32AD}"/>
              </a:ext>
            </a:extLst>
          </p:cNvPr>
          <p:cNvCxnSpPr>
            <a:cxnSpLocks/>
          </p:cNvCxnSpPr>
          <p:nvPr userDrawn="1"/>
        </p:nvCxnSpPr>
        <p:spPr>
          <a:xfrm>
            <a:off x="901825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BABB358-30DE-6DBA-D4CB-EAFC4EC9D782}"/>
              </a:ext>
            </a:extLst>
          </p:cNvPr>
          <p:cNvCxnSpPr>
            <a:cxnSpLocks/>
          </p:cNvCxnSpPr>
          <p:nvPr userDrawn="1"/>
        </p:nvCxnSpPr>
        <p:spPr>
          <a:xfrm>
            <a:off x="6096001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19991BC6-ABFB-0F5B-30ED-A9102221862F}"/>
              </a:ext>
            </a:extLst>
          </p:cNvPr>
          <p:cNvCxnSpPr>
            <a:cxnSpLocks/>
          </p:cNvCxnSpPr>
          <p:nvPr userDrawn="1"/>
        </p:nvCxnSpPr>
        <p:spPr>
          <a:xfrm>
            <a:off x="317374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49FE566-AFB0-BDE5-65A0-54534B952B2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EC5FF7DD-A17E-9053-5285-8C925767A8C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21500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DDD0AE15-46C8-8F78-705C-D3E08439A03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99245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4F615191-A24B-10ED-FA18-7BBE0DC2BB2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476991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5663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25353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2467" y="1929785"/>
            <a:ext cx="3457799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79110" y="1929785"/>
            <a:ext cx="3343050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498950" y="1929785"/>
            <a:ext cx="3251477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4334608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7914769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8" y="1306591"/>
            <a:ext cx="3774651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28696" y="1306591"/>
            <a:ext cx="3586068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914768" y="1306591"/>
            <a:ext cx="3723195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cxnSp>
        <p:nvCxnSpPr>
          <p:cNvPr id="4" name="BottomLine">
            <a:extLst>
              <a:ext uri="{FF2B5EF4-FFF2-40B4-BE49-F238E27FC236}">
                <a16:creationId xmlns:a16="http://schemas.microsoft.com/office/drawing/2014/main" id="{2A601931-BE2E-180C-7B7D-66089464EC5E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1066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85801" y="1929785"/>
            <a:ext cx="2412465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9373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560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3747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331787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C9D54D1-4272-934B-0C45-E0C86ABBD47E}"/>
              </a:ext>
            </a:extLst>
          </p:cNvPr>
          <p:cNvCxnSpPr>
            <a:cxnSpLocks/>
          </p:cNvCxnSpPr>
          <p:nvPr userDrawn="1"/>
        </p:nvCxnSpPr>
        <p:spPr>
          <a:xfrm>
            <a:off x="887413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9" y="1306591"/>
            <a:ext cx="2748836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33277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835B137-1CDC-6B31-8433-F248E4C636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12515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91754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4</a:t>
            </a:r>
          </a:p>
        </p:txBody>
      </p:sp>
    </p:spTree>
    <p:extLst>
      <p:ext uri="{BB962C8B-B14F-4D97-AF65-F5344CB8AC3E}">
        <p14:creationId xmlns:p14="http://schemas.microsoft.com/office/powerpoint/2010/main" val="3545959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4267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96241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2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2762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7633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2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7633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52762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7699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4277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782B58CF-AA06-7AEC-EDDC-1C82CE465E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4746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4511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7657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7650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7643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7643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650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7657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23588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203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8D7F33-13B0-D53A-C63A-98BF1D7F8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>
            <a:extLst>
              <a:ext uri="{FF2B5EF4-FFF2-40B4-BE49-F238E27FC236}">
                <a16:creationId xmlns:a16="http://schemas.microsoft.com/office/drawing/2014/main" id="{C3BBC403-C02A-0E4D-2957-4FACA3D52A0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45" name="Picture Placeholder 24">
            <a:extLst>
              <a:ext uri="{FF2B5EF4-FFF2-40B4-BE49-F238E27FC236}">
                <a16:creationId xmlns:a16="http://schemas.microsoft.com/office/drawing/2014/main" id="{898862F8-66BF-BBF1-331A-C364AD35EB4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45520E7D-AC23-8072-0396-19C7BDE2DF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33469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BEB4297-0F71-2482-7393-A06C974AA465}"/>
              </a:ext>
            </a:extLst>
          </p:cNvPr>
          <p:cNvSpPr/>
          <p:nvPr userDrawn="1"/>
        </p:nvSpPr>
        <p:spPr>
          <a:xfrm>
            <a:off x="815035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3909A704-EDD3-774C-B64A-5343D092CCC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39653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1014BCBD-0420-8E9D-1650-DF57A8EF8E4B}"/>
              </a:ext>
            </a:extLst>
          </p:cNvPr>
          <p:cNvSpPr/>
          <p:nvPr userDrawn="1"/>
        </p:nvSpPr>
        <p:spPr>
          <a:xfrm>
            <a:off x="55473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0EC603-4C83-BF9B-69FB-C73788ACD4E9}"/>
              </a:ext>
            </a:extLst>
          </p:cNvPr>
          <p:cNvSpPr/>
          <p:nvPr userDrawn="1"/>
        </p:nvSpPr>
        <p:spPr>
          <a:xfrm>
            <a:off x="435254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7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448758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828539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7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828539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448758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C11E069B-9DA4-47F6-6D1B-1E2FC2AFBBB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0091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466538-627E-B4FE-F0A4-AE70D0040DB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9872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55F3CA46-FDE8-9F15-91E5-87C44E2750B0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80091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33" name="Picture Placeholder 31">
            <a:extLst>
              <a:ext uri="{FF2B5EF4-FFF2-40B4-BE49-F238E27FC236}">
                <a16:creationId xmlns:a16="http://schemas.microsoft.com/office/drawing/2014/main" id="{1248B4D5-D86D-2798-D602-07DAE6B77FDB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59872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3344E1DA-BD9C-B59D-7843-B0F63DA23E9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9396535" y="1460671"/>
            <a:ext cx="914400" cy="91439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6281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E59E36AA-1FCD-1F12-E7C4-11331C8B12F2}"/>
              </a:ext>
            </a:extLst>
          </p:cNvPr>
          <p:cNvSpPr/>
          <p:nvPr userDrawn="1"/>
        </p:nvSpPr>
        <p:spPr>
          <a:xfrm>
            <a:off x="8948294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C80010-D108-E989-16AA-1915A2DE0FD7}"/>
              </a:ext>
            </a:extLst>
          </p:cNvPr>
          <p:cNvSpPr/>
          <p:nvPr userDrawn="1"/>
        </p:nvSpPr>
        <p:spPr>
          <a:xfrm>
            <a:off x="554736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3AEB4B0-E72C-EC9D-FEBA-D968903F3AE8}"/>
              </a:ext>
            </a:extLst>
          </p:cNvPr>
          <p:cNvSpPr/>
          <p:nvPr userDrawn="1"/>
        </p:nvSpPr>
        <p:spPr>
          <a:xfrm>
            <a:off x="6150442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FC1AF96-76C7-34C2-A390-FC455837CA4C}"/>
              </a:ext>
            </a:extLst>
          </p:cNvPr>
          <p:cNvSpPr/>
          <p:nvPr userDrawn="1"/>
        </p:nvSpPr>
        <p:spPr>
          <a:xfrm>
            <a:off x="3352589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80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3487633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6285485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9083338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80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9083338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6285485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3487633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AE7010B3-8121-0658-D83D-EAF39E0A88F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442021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9" name="Picture Placeholder 31">
            <a:extLst>
              <a:ext uri="{FF2B5EF4-FFF2-40B4-BE49-F238E27FC236}">
                <a16:creationId xmlns:a16="http://schemas.microsoft.com/office/drawing/2014/main" id="{A76B84F8-54FF-7017-B204-0ADDA93BADA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442021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DAAD67-1B5A-546E-C773-584054718DC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239874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1" name="Picture Placeholder 31">
            <a:extLst>
              <a:ext uri="{FF2B5EF4-FFF2-40B4-BE49-F238E27FC236}">
                <a16:creationId xmlns:a16="http://schemas.microsoft.com/office/drawing/2014/main" id="{E4C0484B-03BE-BC0D-5F09-AEA5EE82C05D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4239874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2" name="Text Placeholder 25">
            <a:extLst>
              <a:ext uri="{FF2B5EF4-FFF2-40B4-BE49-F238E27FC236}">
                <a16:creationId xmlns:a16="http://schemas.microsoft.com/office/drawing/2014/main" id="{75E7F866-5B27-1C96-9840-264151E46CF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037726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3" name="Picture Placeholder 31">
            <a:extLst>
              <a:ext uri="{FF2B5EF4-FFF2-40B4-BE49-F238E27FC236}">
                <a16:creationId xmlns:a16="http://schemas.microsoft.com/office/drawing/2014/main" id="{5333E818-D907-7280-133B-4DD4EE64D917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037726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27331BD9-E38B-E3C0-7C8B-F8A2BBFC41D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835579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4C1E7FD3-2511-BBFA-9BE0-95514EEE18B2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9835579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6" name="Text Placeholder 35">
            <a:extLst>
              <a:ext uri="{FF2B5EF4-FFF2-40B4-BE49-F238E27FC236}">
                <a16:creationId xmlns:a16="http://schemas.microsoft.com/office/drawing/2014/main" id="{C7D13417-A5BE-E341-5767-4331B4FB2B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3581398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176993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380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42975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53742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80337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491104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554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511576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4885195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6696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7" imgH="348" progId="TCLayout.ActiveDocument.1">
                  <p:embed/>
                </p:oleObj>
              </mc:Choice>
              <mc:Fallback>
                <p:oleObj name="think-cell Slide" r:id="rId10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2785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11523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19744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AA7EE8B9-945B-5BB4-6926-D5407478C6B4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14989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9F24CEC9-19B4-92BB-44D0-5FA8B123217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755900" y="423210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755901" y="518455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5266767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36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180309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5A702E6C-9243-1B7F-4D82-63F76F33B7D4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54038" y="420783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5235351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8518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730720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868201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4290822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428305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515700" y="1309777"/>
            <a:ext cx="180863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515694" y="2858215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515695" y="4406659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242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39196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47888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78115CBE-71BA-AD61-1893-317F29DEDE63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3562746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0A4B179C-A30A-A074-740F-BE4D3EC2172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377439" y="364966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377440" y="473352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82043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741762" y="1120375"/>
            <a:ext cx="135651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741757" y="229116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741757" y="463272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FB5AD1C-CF5C-4149-2C20-DFA8CBFF61C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 rot="5400000">
            <a:off x="741757" y="3457811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2612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04914" y="1720091"/>
            <a:ext cx="6832352" cy="445687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917BFF33-BE11-95C8-4FA2-05A32E5786C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6" y="1720091"/>
            <a:ext cx="3838480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9956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029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30600" y="1237702"/>
            <a:ext cx="8106664" cy="493925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7BC24E7-1920-6E38-7815-471431880AC7}"/>
              </a:ext>
            </a:extLst>
          </p:cNvPr>
          <p:cNvSpPr/>
          <p:nvPr userDrawn="1"/>
        </p:nvSpPr>
        <p:spPr>
          <a:xfrm>
            <a:off x="554736" y="1237702"/>
            <a:ext cx="2805684" cy="49392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40932" y="1372321"/>
            <a:ext cx="2433292" cy="4670016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370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AA2932A-ECF7-B904-7ECB-36BD3A0BD86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2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27ADD171-B5EB-750B-B773-C2682D42FA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3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021F998B-06C5-3D49-6B58-8764D8FB02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00B05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58B29DB-7F12-8472-71BD-5FAFA0DD9C4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C0000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9451602-BD40-84D7-B926-FE21CF0229AE}"/>
              </a:ext>
            </a:extLst>
          </p:cNvPr>
          <p:cNvCxnSpPr>
            <a:cxnSpLocks/>
          </p:cNvCxnSpPr>
          <p:nvPr userDrawn="1"/>
        </p:nvCxnSpPr>
        <p:spPr>
          <a:xfrm>
            <a:off x="901825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9F5D004-4D3A-406A-3E1A-D1177E73BD94}"/>
              </a:ext>
            </a:extLst>
          </p:cNvPr>
          <p:cNvCxnSpPr>
            <a:cxnSpLocks/>
          </p:cNvCxnSpPr>
          <p:nvPr userDrawn="1"/>
        </p:nvCxnSpPr>
        <p:spPr>
          <a:xfrm>
            <a:off x="6096001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0CAA558-757D-98DB-EC7B-64DB9ED31932}"/>
              </a:ext>
            </a:extLst>
          </p:cNvPr>
          <p:cNvCxnSpPr>
            <a:cxnSpLocks/>
          </p:cNvCxnSpPr>
          <p:nvPr userDrawn="1"/>
        </p:nvCxnSpPr>
        <p:spPr>
          <a:xfrm>
            <a:off x="317374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390D9E3B-4FED-7611-77C7-CB0590BEE6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73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TRENGHTS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0A394334-1404-CD26-7CAD-BBCEE2BD1DD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76991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EAKNESS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A5C22ED3-7B08-0CF5-91CC-B8E7FC45A53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9924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PPORTUNITIES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F50DD0F7-2B58-511A-0F5F-DB6D2064D36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321500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HREATS</a:t>
            </a:r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510D9D09-11E7-4615-E48A-46FBB0A76C8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7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9477DBF0-3ACD-B7B5-64F8-0E910DFDFF0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76991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8DA197A2-1F18-78CA-7461-1D0CFACAF00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99245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320640E4-FC1B-613A-116D-F2E57941816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321500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0923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er's Five 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051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1CAEAC3-C51A-32D0-D878-CFFF08EC55B5}"/>
              </a:ext>
            </a:extLst>
          </p:cNvPr>
          <p:cNvSpPr/>
          <p:nvPr/>
        </p:nvSpPr>
        <p:spPr>
          <a:xfrm>
            <a:off x="1814907" y="1961285"/>
            <a:ext cx="1512399" cy="1965730"/>
          </a:xfrm>
          <a:custGeom>
            <a:avLst/>
            <a:gdLst>
              <a:gd name="connsiteX0" fmla="*/ 677238 w 1512399"/>
              <a:gd name="connsiteY0" fmla="*/ 1925463 h 1965730"/>
              <a:gd name="connsiteX1" fmla="*/ 144657 w 1512399"/>
              <a:gd name="connsiteY1" fmla="*/ 1192485 h 1965730"/>
              <a:gd name="connsiteX2" fmla="*/ 743758 w 1512399"/>
              <a:gd name="connsiteY2" fmla="*/ 0 h 1965730"/>
              <a:gd name="connsiteX3" fmla="*/ 768581 w 1512399"/>
              <a:gd name="connsiteY3" fmla="*/ 0 h 1965730"/>
              <a:gd name="connsiteX4" fmla="*/ 1367682 w 1512399"/>
              <a:gd name="connsiteY4" fmla="*/ 1192485 h 1965730"/>
              <a:gd name="connsiteX5" fmla="*/ 835102 w 1512399"/>
              <a:gd name="connsiteY5" fmla="*/ 1925463 h 1965730"/>
              <a:gd name="connsiteX6" fmla="*/ 677098 w 1512399"/>
              <a:gd name="connsiteY6" fmla="*/ 1925463 h 196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12399" h="1965730">
                <a:moveTo>
                  <a:pt x="677238" y="1925463"/>
                </a:moveTo>
                <a:lnTo>
                  <a:pt x="144657" y="1192485"/>
                </a:lnTo>
                <a:cubicBezTo>
                  <a:pt x="-213604" y="699230"/>
                  <a:pt x="134058" y="3905"/>
                  <a:pt x="743758" y="0"/>
                </a:cubicBezTo>
                <a:cubicBezTo>
                  <a:pt x="751986" y="0"/>
                  <a:pt x="760353" y="0"/>
                  <a:pt x="768581" y="0"/>
                </a:cubicBezTo>
                <a:cubicBezTo>
                  <a:pt x="1378281" y="3905"/>
                  <a:pt x="1726083" y="699230"/>
                  <a:pt x="1367682" y="1192485"/>
                </a:cubicBezTo>
                <a:lnTo>
                  <a:pt x="835102" y="1925463"/>
                </a:lnTo>
                <a:cubicBezTo>
                  <a:pt x="796054" y="1979154"/>
                  <a:pt x="716146" y="1979154"/>
                  <a:pt x="677098" y="1925463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93C7499-7E89-9F72-BC28-8BA0B1283C60}"/>
              </a:ext>
            </a:extLst>
          </p:cNvPr>
          <p:cNvSpPr/>
          <p:nvPr/>
        </p:nvSpPr>
        <p:spPr>
          <a:xfrm>
            <a:off x="2599107" y="4171683"/>
            <a:ext cx="1509425" cy="1757072"/>
          </a:xfrm>
          <a:custGeom>
            <a:avLst/>
            <a:gdLst>
              <a:gd name="connsiteX0" fmla="*/ 127741 w 1509425"/>
              <a:gd name="connsiteY0" fmla="*/ 4714 h 1757072"/>
              <a:gd name="connsiteX1" fmla="*/ 989437 w 1509425"/>
              <a:gd name="connsiteY1" fmla="*/ 284741 h 1757072"/>
              <a:gd name="connsiteX2" fmla="*/ 1205733 w 1509425"/>
              <a:gd name="connsiteY2" fmla="*/ 1601620 h 1757072"/>
              <a:gd name="connsiteX3" fmla="*/ 1185651 w 1509425"/>
              <a:gd name="connsiteY3" fmla="*/ 1616263 h 1757072"/>
              <a:gd name="connsiteX4" fmla="*/ 0 w 1509425"/>
              <a:gd name="connsiteY4" fmla="*/ 1003634 h 1757072"/>
              <a:gd name="connsiteX5" fmla="*/ 0 w 1509425"/>
              <a:gd name="connsiteY5" fmla="*/ 97731 h 1757072"/>
              <a:gd name="connsiteX6" fmla="*/ 127741 w 1509425"/>
              <a:gd name="connsiteY6" fmla="*/ 4854 h 1757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072">
                <a:moveTo>
                  <a:pt x="127741" y="4714"/>
                </a:moveTo>
                <a:lnTo>
                  <a:pt x="989437" y="284741"/>
                </a:lnTo>
                <a:cubicBezTo>
                  <a:pt x="1569294" y="473145"/>
                  <a:pt x="1696756" y="1240151"/>
                  <a:pt x="1205733" y="1601620"/>
                </a:cubicBezTo>
                <a:cubicBezTo>
                  <a:pt x="1199039" y="1606501"/>
                  <a:pt x="1192345" y="1611382"/>
                  <a:pt x="1185651" y="1616263"/>
                </a:cubicBezTo>
                <a:cubicBezTo>
                  <a:pt x="690166" y="1971456"/>
                  <a:pt x="0" y="1613334"/>
                  <a:pt x="0" y="1003634"/>
                </a:cubicBezTo>
                <a:lnTo>
                  <a:pt x="0" y="97731"/>
                </a:lnTo>
                <a:cubicBezTo>
                  <a:pt x="0" y="31350"/>
                  <a:pt x="64707" y="-15646"/>
                  <a:pt x="127741" y="4854"/>
                </a:cubicBezTo>
                <a:close/>
              </a:path>
            </a:pathLst>
          </a:custGeom>
          <a:solidFill>
            <a:schemeClr val="accent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CD2FF160-DCAC-6555-26BB-2E62AF43DCF8}"/>
              </a:ext>
            </a:extLst>
          </p:cNvPr>
          <p:cNvSpPr/>
          <p:nvPr/>
        </p:nvSpPr>
        <p:spPr>
          <a:xfrm>
            <a:off x="554736" y="2913387"/>
            <a:ext cx="1914425" cy="1511212"/>
          </a:xfrm>
          <a:custGeom>
            <a:avLst/>
            <a:gdLst>
              <a:gd name="connsiteX0" fmla="*/ 1846763 w 1914425"/>
              <a:gd name="connsiteY0" fmla="*/ 1193282 h 1511212"/>
              <a:gd name="connsiteX1" fmla="*/ 985067 w 1914425"/>
              <a:gd name="connsiteY1" fmla="*/ 1473309 h 1511212"/>
              <a:gd name="connsiteX2" fmla="*/ 36211 w 1914425"/>
              <a:gd name="connsiteY2" fmla="*/ 535052 h 1511212"/>
              <a:gd name="connsiteX3" fmla="*/ 43881 w 1914425"/>
              <a:gd name="connsiteY3" fmla="*/ 511344 h 1511212"/>
              <a:gd name="connsiteX4" fmla="*/ 1363131 w 1914425"/>
              <a:gd name="connsiteY4" fmla="*/ 310110 h 1511212"/>
              <a:gd name="connsiteX5" fmla="*/ 1895712 w 1914425"/>
              <a:gd name="connsiteY5" fmla="*/ 1043089 h 1511212"/>
              <a:gd name="connsiteX6" fmla="*/ 1846902 w 1914425"/>
              <a:gd name="connsiteY6" fmla="*/ 1193282 h 1511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425" h="1511212">
                <a:moveTo>
                  <a:pt x="1846763" y="1193282"/>
                </a:moveTo>
                <a:lnTo>
                  <a:pt x="985067" y="1473309"/>
                </a:lnTo>
                <a:cubicBezTo>
                  <a:pt x="405210" y="1661713"/>
                  <a:pt x="-148568" y="1116163"/>
                  <a:pt x="36211" y="535052"/>
                </a:cubicBezTo>
                <a:cubicBezTo>
                  <a:pt x="38721" y="527103"/>
                  <a:pt x="41231" y="519293"/>
                  <a:pt x="43881" y="511344"/>
                </a:cubicBezTo>
                <a:cubicBezTo>
                  <a:pt x="235911" y="-67396"/>
                  <a:pt x="1004730" y="-183144"/>
                  <a:pt x="1363131" y="310110"/>
                </a:cubicBezTo>
                <a:lnTo>
                  <a:pt x="1895712" y="1043089"/>
                </a:lnTo>
                <a:cubicBezTo>
                  <a:pt x="1934759" y="1096779"/>
                  <a:pt x="1909936" y="1172782"/>
                  <a:pt x="1846902" y="11932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0DE7C86-BAA7-DD15-9918-12605EBA9E0B}"/>
              </a:ext>
            </a:extLst>
          </p:cNvPr>
          <p:cNvSpPr/>
          <p:nvPr/>
        </p:nvSpPr>
        <p:spPr>
          <a:xfrm>
            <a:off x="2673333" y="2913431"/>
            <a:ext cx="1914356" cy="1511168"/>
          </a:xfrm>
          <a:custGeom>
            <a:avLst/>
            <a:gdLst>
              <a:gd name="connsiteX0" fmla="*/ 18652 w 1914356"/>
              <a:gd name="connsiteY0" fmla="*/ 1043045 h 1511168"/>
              <a:gd name="connsiteX1" fmla="*/ 551233 w 1914356"/>
              <a:gd name="connsiteY1" fmla="*/ 310066 h 1511168"/>
              <a:gd name="connsiteX2" fmla="*/ 1870482 w 1914356"/>
              <a:gd name="connsiteY2" fmla="*/ 511301 h 1511168"/>
              <a:gd name="connsiteX3" fmla="*/ 1878153 w 1914356"/>
              <a:gd name="connsiteY3" fmla="*/ 535008 h 1511168"/>
              <a:gd name="connsiteX4" fmla="*/ 929158 w 1914356"/>
              <a:gd name="connsiteY4" fmla="*/ 1473265 h 1511168"/>
              <a:gd name="connsiteX5" fmla="*/ 67461 w 1914356"/>
              <a:gd name="connsiteY5" fmla="*/ 1193239 h 1511168"/>
              <a:gd name="connsiteX6" fmla="*/ 18652 w 1914356"/>
              <a:gd name="connsiteY6" fmla="*/ 1043045 h 1511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356" h="1511168">
                <a:moveTo>
                  <a:pt x="18652" y="1043045"/>
                </a:moveTo>
                <a:lnTo>
                  <a:pt x="551233" y="310066"/>
                </a:lnTo>
                <a:cubicBezTo>
                  <a:pt x="909634" y="-183188"/>
                  <a:pt x="1678452" y="-67300"/>
                  <a:pt x="1870482" y="511301"/>
                </a:cubicBezTo>
                <a:cubicBezTo>
                  <a:pt x="1873132" y="519110"/>
                  <a:pt x="1875643" y="527059"/>
                  <a:pt x="1878153" y="535008"/>
                </a:cubicBezTo>
                <a:cubicBezTo>
                  <a:pt x="2062931" y="1116120"/>
                  <a:pt x="1509014" y="1661670"/>
                  <a:pt x="929158" y="1473265"/>
                </a:cubicBezTo>
                <a:lnTo>
                  <a:pt x="67461" y="1193239"/>
                </a:lnTo>
                <a:cubicBezTo>
                  <a:pt x="4428" y="1172739"/>
                  <a:pt x="-20256" y="1096735"/>
                  <a:pt x="18652" y="1043045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C89AFC68-B74D-957C-7D45-713C28E4D775}"/>
              </a:ext>
            </a:extLst>
          </p:cNvPr>
          <p:cNvSpPr/>
          <p:nvPr/>
        </p:nvSpPr>
        <p:spPr>
          <a:xfrm>
            <a:off x="1019954" y="4171404"/>
            <a:ext cx="1509425" cy="1757212"/>
          </a:xfrm>
          <a:custGeom>
            <a:avLst/>
            <a:gdLst>
              <a:gd name="connsiteX0" fmla="*/ 1509426 w 1509425"/>
              <a:gd name="connsiteY0" fmla="*/ 97870 h 1757212"/>
              <a:gd name="connsiteX1" fmla="*/ 1509426 w 1509425"/>
              <a:gd name="connsiteY1" fmla="*/ 1003774 h 1757212"/>
              <a:gd name="connsiteX2" fmla="*/ 323774 w 1509425"/>
              <a:gd name="connsiteY2" fmla="*/ 1616402 h 1757212"/>
              <a:gd name="connsiteX3" fmla="*/ 303693 w 1509425"/>
              <a:gd name="connsiteY3" fmla="*/ 1601759 h 1757212"/>
              <a:gd name="connsiteX4" fmla="*/ 519988 w 1509425"/>
              <a:gd name="connsiteY4" fmla="*/ 284880 h 1757212"/>
              <a:gd name="connsiteX5" fmla="*/ 1381684 w 1509425"/>
              <a:gd name="connsiteY5" fmla="*/ 4854 h 1757212"/>
              <a:gd name="connsiteX6" fmla="*/ 1509426 w 1509425"/>
              <a:gd name="connsiteY6" fmla="*/ 97731 h 1757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212">
                <a:moveTo>
                  <a:pt x="1509426" y="97870"/>
                </a:moveTo>
                <a:lnTo>
                  <a:pt x="1509426" y="1003774"/>
                </a:lnTo>
                <a:cubicBezTo>
                  <a:pt x="1509426" y="1613474"/>
                  <a:pt x="819400" y="1971595"/>
                  <a:pt x="323774" y="1616402"/>
                </a:cubicBezTo>
                <a:cubicBezTo>
                  <a:pt x="317081" y="1611521"/>
                  <a:pt x="310387" y="1606640"/>
                  <a:pt x="303693" y="1601759"/>
                </a:cubicBezTo>
                <a:cubicBezTo>
                  <a:pt x="-187330" y="1240291"/>
                  <a:pt x="-59868" y="473285"/>
                  <a:pt x="519988" y="284880"/>
                </a:cubicBezTo>
                <a:lnTo>
                  <a:pt x="1381684" y="4854"/>
                </a:lnTo>
                <a:cubicBezTo>
                  <a:pt x="1444718" y="-15646"/>
                  <a:pt x="1509426" y="31350"/>
                  <a:pt x="1509426" y="97731"/>
                </a:cubicBezTo>
                <a:close/>
              </a:path>
            </a:pathLst>
          </a:custGeom>
          <a:solidFill>
            <a:schemeClr val="accent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19F1005-28B2-823A-445B-17CA69936247}"/>
              </a:ext>
            </a:extLst>
          </p:cNvPr>
          <p:cNvSpPr/>
          <p:nvPr userDrawn="1"/>
        </p:nvSpPr>
        <p:spPr>
          <a:xfrm>
            <a:off x="1957961" y="3336666"/>
            <a:ext cx="1223723" cy="122372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5" name="Shape1_20250711_034432">
            <a:extLst>
              <a:ext uri="{FF2B5EF4-FFF2-40B4-BE49-F238E27FC236}">
                <a16:creationId xmlns:a16="http://schemas.microsoft.com/office/drawing/2014/main" id="{E55096AF-B2F2-6C49-78C3-883AD72F9B66}"/>
              </a:ext>
            </a:extLst>
          </p:cNvPr>
          <p:cNvGrpSpPr/>
          <p:nvPr userDrawn="1"/>
        </p:nvGrpSpPr>
        <p:grpSpPr>
          <a:xfrm>
            <a:off x="1957333" y="2091815"/>
            <a:ext cx="1217168" cy="1217168"/>
            <a:chOff x="5483511" y="2091815"/>
            <a:chExt cx="1217168" cy="1217168"/>
          </a:xfrm>
          <a:solidFill>
            <a:schemeClr val="bg1"/>
          </a:solidFill>
        </p:grpSpPr>
        <p:sp>
          <p:nvSpPr>
            <p:cNvPr id="37" name="Freeform: Shape 11">
              <a:extLst>
                <a:ext uri="{FF2B5EF4-FFF2-40B4-BE49-F238E27FC236}">
                  <a16:creationId xmlns:a16="http://schemas.microsoft.com/office/drawing/2014/main" id="{FB3A7D3E-28D5-7F18-4169-A0D7D4CCCB43}"/>
                </a:ext>
              </a:extLst>
            </p:cNvPr>
            <p:cNvSpPr/>
            <p:nvPr/>
          </p:nvSpPr>
          <p:spPr>
            <a:xfrm>
              <a:off x="5511402" y="2119706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12">
              <a:extLst>
                <a:ext uri="{FF2B5EF4-FFF2-40B4-BE49-F238E27FC236}">
                  <a16:creationId xmlns:a16="http://schemas.microsoft.com/office/drawing/2014/main" id="{22822D11-5633-BF28-CA96-B80440E6DE66}"/>
                </a:ext>
              </a:extLst>
            </p:cNvPr>
            <p:cNvSpPr/>
            <p:nvPr/>
          </p:nvSpPr>
          <p:spPr>
            <a:xfrm>
              <a:off x="5483511" y="2091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9" name="Shape2_20250711_034432">
            <a:extLst>
              <a:ext uri="{FF2B5EF4-FFF2-40B4-BE49-F238E27FC236}">
                <a16:creationId xmlns:a16="http://schemas.microsoft.com/office/drawing/2014/main" id="{29000E53-E0A5-58AE-3709-EAC468AA3A87}"/>
              </a:ext>
            </a:extLst>
          </p:cNvPr>
          <p:cNvGrpSpPr/>
          <p:nvPr userDrawn="1"/>
        </p:nvGrpSpPr>
        <p:grpSpPr>
          <a:xfrm>
            <a:off x="2745117" y="4545815"/>
            <a:ext cx="1217168" cy="1217168"/>
            <a:chOff x="6271295" y="4545815"/>
            <a:chExt cx="1217168" cy="1217168"/>
          </a:xfrm>
          <a:solidFill>
            <a:schemeClr val="bg1"/>
          </a:solidFill>
        </p:grpSpPr>
        <p:sp>
          <p:nvSpPr>
            <p:cNvPr id="40" name="Freeform: Shape 20">
              <a:extLst>
                <a:ext uri="{FF2B5EF4-FFF2-40B4-BE49-F238E27FC236}">
                  <a16:creationId xmlns:a16="http://schemas.microsoft.com/office/drawing/2014/main" id="{21C6A358-F3C7-AF73-3A74-5F33D77C4582}"/>
                </a:ext>
              </a:extLst>
            </p:cNvPr>
            <p:cNvSpPr/>
            <p:nvPr/>
          </p:nvSpPr>
          <p:spPr>
            <a:xfrm>
              <a:off x="6299186" y="4573706"/>
              <a:ext cx="1161385" cy="1161385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21">
              <a:extLst>
                <a:ext uri="{FF2B5EF4-FFF2-40B4-BE49-F238E27FC236}">
                  <a16:creationId xmlns:a16="http://schemas.microsoft.com/office/drawing/2014/main" id="{EBB216CE-A2D3-B353-7172-9B45BFE3D5DC}"/>
                </a:ext>
              </a:extLst>
            </p:cNvPr>
            <p:cNvSpPr/>
            <p:nvPr/>
          </p:nvSpPr>
          <p:spPr>
            <a:xfrm>
              <a:off x="62712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2" name="Shape3_20250711_034432">
            <a:extLst>
              <a:ext uri="{FF2B5EF4-FFF2-40B4-BE49-F238E27FC236}">
                <a16:creationId xmlns:a16="http://schemas.microsoft.com/office/drawing/2014/main" id="{60804CE5-E8AE-B15C-42CE-D12FAD00A24D}"/>
              </a:ext>
            </a:extLst>
          </p:cNvPr>
          <p:cNvGrpSpPr/>
          <p:nvPr userDrawn="1"/>
        </p:nvGrpSpPr>
        <p:grpSpPr>
          <a:xfrm>
            <a:off x="703627" y="3053222"/>
            <a:ext cx="1217168" cy="1217168"/>
            <a:chOff x="4229805" y="3053222"/>
            <a:chExt cx="1217168" cy="1217168"/>
          </a:xfrm>
          <a:solidFill>
            <a:schemeClr val="bg1"/>
          </a:solidFill>
        </p:grpSpPr>
        <p:sp>
          <p:nvSpPr>
            <p:cNvPr id="43" name="Freeform: Shape 24">
              <a:extLst>
                <a:ext uri="{FF2B5EF4-FFF2-40B4-BE49-F238E27FC236}">
                  <a16:creationId xmlns:a16="http://schemas.microsoft.com/office/drawing/2014/main" id="{A3C178FE-F1DE-AD4E-F80B-BC8526C6BC67}"/>
                </a:ext>
              </a:extLst>
            </p:cNvPr>
            <p:cNvSpPr/>
            <p:nvPr/>
          </p:nvSpPr>
          <p:spPr>
            <a:xfrm>
              <a:off x="4257836" y="3081113"/>
              <a:ext cx="1161386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25">
              <a:extLst>
                <a:ext uri="{FF2B5EF4-FFF2-40B4-BE49-F238E27FC236}">
                  <a16:creationId xmlns:a16="http://schemas.microsoft.com/office/drawing/2014/main" id="{91DB3155-81FA-7C76-AA71-16C436C85FA4}"/>
                </a:ext>
              </a:extLst>
            </p:cNvPr>
            <p:cNvSpPr/>
            <p:nvPr/>
          </p:nvSpPr>
          <p:spPr>
            <a:xfrm>
              <a:off x="4229805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5" name="Shape0_20250711_034432">
            <a:extLst>
              <a:ext uri="{FF2B5EF4-FFF2-40B4-BE49-F238E27FC236}">
                <a16:creationId xmlns:a16="http://schemas.microsoft.com/office/drawing/2014/main" id="{66C224F9-7F6E-62A3-AD2C-8E6C64C0BF54}"/>
              </a:ext>
            </a:extLst>
          </p:cNvPr>
          <p:cNvGrpSpPr/>
          <p:nvPr userDrawn="1"/>
        </p:nvGrpSpPr>
        <p:grpSpPr>
          <a:xfrm>
            <a:off x="3223171" y="3053222"/>
            <a:ext cx="1217168" cy="1217168"/>
            <a:chOff x="6749349" y="3053222"/>
            <a:chExt cx="1217168" cy="1217168"/>
          </a:xfrm>
          <a:solidFill>
            <a:schemeClr val="bg1"/>
          </a:solidFill>
        </p:grpSpPr>
        <p:sp>
          <p:nvSpPr>
            <p:cNvPr id="46" name="Freeform: Shape 28">
              <a:extLst>
                <a:ext uri="{FF2B5EF4-FFF2-40B4-BE49-F238E27FC236}">
                  <a16:creationId xmlns:a16="http://schemas.microsoft.com/office/drawing/2014/main" id="{1587837B-7B61-57C9-CBDD-221B3EE2BC41}"/>
                </a:ext>
              </a:extLst>
            </p:cNvPr>
            <p:cNvSpPr/>
            <p:nvPr/>
          </p:nvSpPr>
          <p:spPr>
            <a:xfrm>
              <a:off x="6777240" y="3081113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29">
              <a:extLst>
                <a:ext uri="{FF2B5EF4-FFF2-40B4-BE49-F238E27FC236}">
                  <a16:creationId xmlns:a16="http://schemas.microsoft.com/office/drawing/2014/main" id="{09BB16CA-FB60-39E8-0757-12B4186E7BFC}"/>
                </a:ext>
              </a:extLst>
            </p:cNvPr>
            <p:cNvSpPr/>
            <p:nvPr/>
          </p:nvSpPr>
          <p:spPr>
            <a:xfrm>
              <a:off x="6749349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8" name="Shape4_20250711_034432">
            <a:extLst>
              <a:ext uri="{FF2B5EF4-FFF2-40B4-BE49-F238E27FC236}">
                <a16:creationId xmlns:a16="http://schemas.microsoft.com/office/drawing/2014/main" id="{B44208BE-C286-4DC6-4864-42159FD29D4E}"/>
              </a:ext>
            </a:extLst>
          </p:cNvPr>
          <p:cNvGrpSpPr/>
          <p:nvPr userDrawn="1"/>
        </p:nvGrpSpPr>
        <p:grpSpPr>
          <a:xfrm>
            <a:off x="1172217" y="4545815"/>
            <a:ext cx="1217168" cy="1217168"/>
            <a:chOff x="4672995" y="4545815"/>
            <a:chExt cx="1217168" cy="1217168"/>
          </a:xfrm>
          <a:solidFill>
            <a:schemeClr val="bg1"/>
          </a:solidFill>
        </p:grpSpPr>
        <p:sp>
          <p:nvSpPr>
            <p:cNvPr id="49" name="Freeform: Shape 32">
              <a:extLst>
                <a:ext uri="{FF2B5EF4-FFF2-40B4-BE49-F238E27FC236}">
                  <a16:creationId xmlns:a16="http://schemas.microsoft.com/office/drawing/2014/main" id="{7283D619-275A-4453-98A9-0C9162D7AE90}"/>
                </a:ext>
              </a:extLst>
            </p:cNvPr>
            <p:cNvSpPr/>
            <p:nvPr/>
          </p:nvSpPr>
          <p:spPr>
            <a:xfrm>
              <a:off x="4700886" y="4573567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33">
              <a:extLst>
                <a:ext uri="{FF2B5EF4-FFF2-40B4-BE49-F238E27FC236}">
                  <a16:creationId xmlns:a16="http://schemas.microsoft.com/office/drawing/2014/main" id="{139CA106-693D-A7E1-CB86-108FB13EC0D0}"/>
                </a:ext>
              </a:extLst>
            </p:cNvPr>
            <p:cNvSpPr/>
            <p:nvPr/>
          </p:nvSpPr>
          <p:spPr>
            <a:xfrm>
              <a:off x="46729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10B7C431-1FDA-B96D-FE34-06BF50E96EEA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061489" y="1720091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A29F052A-ABA4-5F5E-F887-A654D3C9C3CD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7040881" y="1720090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2" name="Text Placeholder 8">
            <a:extLst>
              <a:ext uri="{FF2B5EF4-FFF2-40B4-BE49-F238E27FC236}">
                <a16:creationId xmlns:a16="http://schemas.microsoft.com/office/drawing/2014/main" id="{0C14E723-65F7-1C69-0A1C-D6E28468B3A2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061489" y="2641728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EA1CDE77-6DC0-68AF-4343-13A7CA6F6018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7040881" y="2641728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44CB894A-C3C5-C96C-5E71-3E2490100F1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5061489" y="3563365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5" name="Text Placeholder 21">
            <a:extLst>
              <a:ext uri="{FF2B5EF4-FFF2-40B4-BE49-F238E27FC236}">
                <a16:creationId xmlns:a16="http://schemas.microsoft.com/office/drawing/2014/main" id="{1589FF26-6ACB-9BED-9452-3FFB84266623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7040881" y="3563366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6" name="Text Placeholder 8">
            <a:extLst>
              <a:ext uri="{FF2B5EF4-FFF2-40B4-BE49-F238E27FC236}">
                <a16:creationId xmlns:a16="http://schemas.microsoft.com/office/drawing/2014/main" id="{DD987ABF-F246-7257-7D14-DF0433D5E50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061489" y="4485002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7" name="Text Placeholder 21">
            <a:extLst>
              <a:ext uri="{FF2B5EF4-FFF2-40B4-BE49-F238E27FC236}">
                <a16:creationId xmlns:a16="http://schemas.microsoft.com/office/drawing/2014/main" id="{E2B36AAA-FCCA-E161-5081-C3E914CF57C3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7040881" y="4485004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8" name="Text Placeholder 8">
            <a:extLst>
              <a:ext uri="{FF2B5EF4-FFF2-40B4-BE49-F238E27FC236}">
                <a16:creationId xmlns:a16="http://schemas.microsoft.com/office/drawing/2014/main" id="{F6580BD9-6B2F-2023-471D-3AAF772C9346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061489" y="5406639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9" name="Text Placeholder 21">
            <a:extLst>
              <a:ext uri="{FF2B5EF4-FFF2-40B4-BE49-F238E27FC236}">
                <a16:creationId xmlns:a16="http://schemas.microsoft.com/office/drawing/2014/main" id="{BA14FD32-44D2-141A-9564-8857CBE9687D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7040881" y="5406639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4" name="Text Placeholder 8">
            <a:extLst>
              <a:ext uri="{FF2B5EF4-FFF2-40B4-BE49-F238E27FC236}">
                <a16:creationId xmlns:a16="http://schemas.microsoft.com/office/drawing/2014/main" id="{4491551B-68E1-E870-D90C-05C446FD8AF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2095189" y="3563365"/>
            <a:ext cx="949267" cy="770324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Porter’s</a:t>
            </a:r>
            <a:br>
              <a:rPr lang="en-US" dirty="0"/>
            </a:br>
            <a:r>
              <a:rPr lang="en-US" dirty="0"/>
              <a:t>Five Forces</a:t>
            </a:r>
          </a:p>
        </p:txBody>
      </p:sp>
      <p:sp>
        <p:nvSpPr>
          <p:cNvPr id="86" name="Picture Placeholder 85">
            <a:extLst>
              <a:ext uri="{FF2B5EF4-FFF2-40B4-BE49-F238E27FC236}">
                <a16:creationId xmlns:a16="http://schemas.microsoft.com/office/drawing/2014/main" id="{5D15CBE1-5B4D-A848-CB6F-29D642E2FF67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2283342" y="2417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7" name="Picture Placeholder 85">
            <a:extLst>
              <a:ext uri="{FF2B5EF4-FFF2-40B4-BE49-F238E27FC236}">
                <a16:creationId xmlns:a16="http://schemas.microsoft.com/office/drawing/2014/main" id="{635D5BBB-0E71-63A7-A5A1-B1B1669037A4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549180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8" name="Picture Placeholder 85">
            <a:extLst>
              <a:ext uri="{FF2B5EF4-FFF2-40B4-BE49-F238E27FC236}">
                <a16:creationId xmlns:a16="http://schemas.microsoft.com/office/drawing/2014/main" id="{F25D06ED-2BF1-8014-D6F6-EE768E62F82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30711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9" name="Picture Placeholder 85">
            <a:extLst>
              <a:ext uri="{FF2B5EF4-FFF2-40B4-BE49-F238E27FC236}">
                <a16:creationId xmlns:a16="http://schemas.microsoft.com/office/drawing/2014/main" id="{43657516-9A1F-FE1D-11A4-FBF9311FD26F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14982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90" name="Picture Placeholder 85">
            <a:extLst>
              <a:ext uri="{FF2B5EF4-FFF2-40B4-BE49-F238E27FC236}">
                <a16:creationId xmlns:a16="http://schemas.microsoft.com/office/drawing/2014/main" id="{D181027C-B3D2-4D68-9DB2-57A96ED3D834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029636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cxnSp>
        <p:nvCxnSpPr>
          <p:cNvPr id="91" name="BottomLine">
            <a:extLst>
              <a:ext uri="{FF2B5EF4-FFF2-40B4-BE49-F238E27FC236}">
                <a16:creationId xmlns:a16="http://schemas.microsoft.com/office/drawing/2014/main" id="{141E26AB-7F88-0DCA-20C5-801480B8599C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7040881" y="2566071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BottomLine">
            <a:extLst>
              <a:ext uri="{FF2B5EF4-FFF2-40B4-BE49-F238E27FC236}">
                <a16:creationId xmlns:a16="http://schemas.microsoft.com/office/drawing/2014/main" id="{32D2ECF9-727F-68B8-8CB1-AB8CF60A85DC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7040881" y="3487709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BottomLine">
            <a:extLst>
              <a:ext uri="{FF2B5EF4-FFF2-40B4-BE49-F238E27FC236}">
                <a16:creationId xmlns:a16="http://schemas.microsoft.com/office/drawing/2014/main" id="{F59B0821-02DC-353B-6878-A64FBDA03F61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7040881" y="4409347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BottomLine">
            <a:extLst>
              <a:ext uri="{FF2B5EF4-FFF2-40B4-BE49-F238E27FC236}">
                <a16:creationId xmlns:a16="http://schemas.microsoft.com/office/drawing/2014/main" id="{7DDF5CE6-9EE8-8D0D-BD01-359995217A63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7040881" y="5330985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4457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354B4D-4AA9-FEA2-6C9D-48CBDE2FF2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4736" y="1219199"/>
            <a:ext cx="11082528" cy="4957763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635785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2774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333D3FC3-99D2-062C-C6C8-4348C2E8B97A}"/>
              </a:ext>
            </a:extLst>
          </p:cNvPr>
          <p:cNvSpPr/>
          <p:nvPr userDrawn="1"/>
        </p:nvSpPr>
        <p:spPr>
          <a:xfrm>
            <a:off x="5813520" y="3690409"/>
            <a:ext cx="2263345" cy="1920058"/>
          </a:xfrm>
          <a:custGeom>
            <a:avLst/>
            <a:gdLst>
              <a:gd name="connsiteX0" fmla="*/ 2084248 w 2702216"/>
              <a:gd name="connsiteY0" fmla="*/ 359186 h 2292365"/>
              <a:gd name="connsiteX1" fmla="*/ 2023567 w 2702216"/>
              <a:gd name="connsiteY1" fmla="*/ 341269 h 2292365"/>
              <a:gd name="connsiteX2" fmla="*/ 1523412 w 2702216"/>
              <a:gd name="connsiteY2" fmla="*/ 16903 h 2292365"/>
              <a:gd name="connsiteX3" fmla="*/ 379089 w 2702216"/>
              <a:gd name="connsiteY3" fmla="*/ 1100038 h 2292365"/>
              <a:gd name="connsiteX4" fmla="*/ 1648 w 2702216"/>
              <a:gd name="connsiteY4" fmla="*/ 1682003 h 2292365"/>
              <a:gd name="connsiteX5" fmla="*/ 1648 w 2702216"/>
              <a:gd name="connsiteY5" fmla="*/ 1692821 h 2292365"/>
              <a:gd name="connsiteX6" fmla="*/ 368947 w 2702216"/>
              <a:gd name="connsiteY6" fmla="*/ 2292366 h 2292365"/>
              <a:gd name="connsiteX7" fmla="*/ 2702217 w 2702216"/>
              <a:gd name="connsiteY7" fmla="*/ 0 h 2292365"/>
              <a:gd name="connsiteX8" fmla="*/ 2142563 w 2702216"/>
              <a:gd name="connsiteY8" fmla="*/ 342959 h 2292365"/>
              <a:gd name="connsiteX9" fmla="*/ 2084248 w 2702216"/>
              <a:gd name="connsiteY9" fmla="*/ 359355 h 2292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02216" h="2292365">
                <a:moveTo>
                  <a:pt x="2084248" y="359186"/>
                </a:moveTo>
                <a:cubicBezTo>
                  <a:pt x="2063120" y="359186"/>
                  <a:pt x="2041822" y="353270"/>
                  <a:pt x="2023567" y="341269"/>
                </a:cubicBezTo>
                <a:lnTo>
                  <a:pt x="1523412" y="16903"/>
                </a:lnTo>
                <a:cubicBezTo>
                  <a:pt x="1470506" y="610869"/>
                  <a:pt x="981845" y="1079078"/>
                  <a:pt x="379089" y="1100038"/>
                </a:cubicBezTo>
                <a:lnTo>
                  <a:pt x="1648" y="1682003"/>
                </a:lnTo>
                <a:cubicBezTo>
                  <a:pt x="-549" y="1685215"/>
                  <a:pt x="-549" y="1689609"/>
                  <a:pt x="1648" y="1692821"/>
                </a:cubicBezTo>
                <a:lnTo>
                  <a:pt x="368947" y="2292366"/>
                </a:lnTo>
                <a:cubicBezTo>
                  <a:pt x="1636661" y="2275631"/>
                  <a:pt x="2663678" y="1262136"/>
                  <a:pt x="2702217" y="0"/>
                </a:cubicBezTo>
                <a:lnTo>
                  <a:pt x="2142563" y="342959"/>
                </a:lnTo>
                <a:cubicBezTo>
                  <a:pt x="2124815" y="353946"/>
                  <a:pt x="2104532" y="359355"/>
                  <a:pt x="2084248" y="359355"/>
                </a:cubicBezTo>
                <a:close/>
              </a:path>
            </a:pathLst>
          </a:custGeom>
          <a:solidFill>
            <a:schemeClr val="accent2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27BE1124-5250-4975-2207-5671644A6360}"/>
              </a:ext>
            </a:extLst>
          </p:cNvPr>
          <p:cNvSpPr/>
          <p:nvPr userDrawn="1"/>
        </p:nvSpPr>
        <p:spPr>
          <a:xfrm>
            <a:off x="6163886" y="1647886"/>
            <a:ext cx="1913687" cy="2258479"/>
          </a:xfrm>
          <a:custGeom>
            <a:avLst/>
            <a:gdLst>
              <a:gd name="connsiteX0" fmla="*/ 1109841 w 2284758"/>
              <a:gd name="connsiteY0" fmla="*/ 2337665 h 2696407"/>
              <a:gd name="connsiteX1" fmla="*/ 1660536 w 2284758"/>
              <a:gd name="connsiteY1" fmla="*/ 2694822 h 2696407"/>
              <a:gd name="connsiteX2" fmla="*/ 1671354 w 2284758"/>
              <a:gd name="connsiteY2" fmla="*/ 2694822 h 2696407"/>
              <a:gd name="connsiteX3" fmla="*/ 2279856 w 2284758"/>
              <a:gd name="connsiteY3" fmla="*/ 2321945 h 2696407"/>
              <a:gd name="connsiteX4" fmla="*/ 2284758 w 2284758"/>
              <a:gd name="connsiteY4" fmla="*/ 2330059 h 2696407"/>
              <a:gd name="connsiteX5" fmla="*/ 0 w 2284758"/>
              <a:gd name="connsiteY5" fmla="*/ 0 h 2696407"/>
              <a:gd name="connsiteX6" fmla="*/ 334846 w 2284758"/>
              <a:gd name="connsiteY6" fmla="*/ 545117 h 2696407"/>
              <a:gd name="connsiteX7" fmla="*/ 333324 w 2284758"/>
              <a:gd name="connsiteY7" fmla="*/ 664282 h 2696407"/>
              <a:gd name="connsiteX8" fmla="*/ 11156 w 2284758"/>
              <a:gd name="connsiteY8" fmla="*/ 1161057 h 2696407"/>
              <a:gd name="connsiteX9" fmla="*/ 1109672 w 2284758"/>
              <a:gd name="connsiteY9" fmla="*/ 2337834 h 269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84758" h="2696407">
                <a:moveTo>
                  <a:pt x="1109841" y="2337665"/>
                </a:moveTo>
                <a:lnTo>
                  <a:pt x="1660536" y="2694822"/>
                </a:lnTo>
                <a:cubicBezTo>
                  <a:pt x="1663748" y="2696851"/>
                  <a:pt x="1668142" y="2697020"/>
                  <a:pt x="1671354" y="2694822"/>
                </a:cubicBezTo>
                <a:lnTo>
                  <a:pt x="2279856" y="2321945"/>
                </a:lnTo>
                <a:lnTo>
                  <a:pt x="2284758" y="2330059"/>
                </a:lnTo>
                <a:cubicBezTo>
                  <a:pt x="2266503" y="1066401"/>
                  <a:pt x="1257741" y="42426"/>
                  <a:pt x="0" y="0"/>
                </a:cubicBezTo>
                <a:lnTo>
                  <a:pt x="334846" y="545117"/>
                </a:lnTo>
                <a:cubicBezTo>
                  <a:pt x="357326" y="581627"/>
                  <a:pt x="356650" y="628279"/>
                  <a:pt x="333324" y="664282"/>
                </a:cubicBezTo>
                <a:lnTo>
                  <a:pt x="11156" y="1161057"/>
                </a:lnTo>
                <a:cubicBezTo>
                  <a:pt x="622363" y="1208047"/>
                  <a:pt x="1104263" y="1715809"/>
                  <a:pt x="1109672" y="2337834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64D7B3C1-5659-62BD-801C-C481BBE588A2}"/>
              </a:ext>
            </a:extLst>
          </p:cNvPr>
          <p:cNvSpPr/>
          <p:nvPr userDrawn="1"/>
        </p:nvSpPr>
        <p:spPr>
          <a:xfrm>
            <a:off x="4114711" y="1647037"/>
            <a:ext cx="2258478" cy="1923597"/>
          </a:xfrm>
          <a:custGeom>
            <a:avLst/>
            <a:gdLst>
              <a:gd name="connsiteX0" fmla="*/ 2339016 w 2696406"/>
              <a:gd name="connsiteY0" fmla="*/ 1158691 h 2296590"/>
              <a:gd name="connsiteX1" fmla="*/ 2694821 w 2696406"/>
              <a:gd name="connsiteY1" fmla="*/ 610024 h 2296590"/>
              <a:gd name="connsiteX2" fmla="*/ 2694821 w 2696406"/>
              <a:gd name="connsiteY2" fmla="*/ 599206 h 2296590"/>
              <a:gd name="connsiteX3" fmla="*/ 2326846 w 2696406"/>
              <a:gd name="connsiteY3" fmla="*/ 0 h 2296590"/>
              <a:gd name="connsiteX4" fmla="*/ 0 w 2696406"/>
              <a:gd name="connsiteY4" fmla="*/ 2296591 h 2296590"/>
              <a:gd name="connsiteX5" fmla="*/ 537004 w 2696406"/>
              <a:gd name="connsiteY5" fmla="*/ 1958027 h 2296590"/>
              <a:gd name="connsiteX6" fmla="*/ 656676 w 2696406"/>
              <a:gd name="connsiteY6" fmla="*/ 1959210 h 2296590"/>
              <a:gd name="connsiteX7" fmla="*/ 1175424 w 2696406"/>
              <a:gd name="connsiteY7" fmla="*/ 2295577 h 2296590"/>
              <a:gd name="connsiteX8" fmla="*/ 2339016 w 2696406"/>
              <a:gd name="connsiteY8" fmla="*/ 1158691 h 2296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6406" h="2296590">
                <a:moveTo>
                  <a:pt x="2339016" y="1158691"/>
                </a:moveTo>
                <a:lnTo>
                  <a:pt x="2694821" y="610024"/>
                </a:lnTo>
                <a:cubicBezTo>
                  <a:pt x="2696850" y="606813"/>
                  <a:pt x="2697019" y="602418"/>
                  <a:pt x="2694821" y="599206"/>
                </a:cubicBezTo>
                <a:lnTo>
                  <a:pt x="2326846" y="0"/>
                </a:lnTo>
                <a:cubicBezTo>
                  <a:pt x="1060823" y="20114"/>
                  <a:pt x="36341" y="1034455"/>
                  <a:pt x="0" y="2296591"/>
                </a:cubicBezTo>
                <a:lnTo>
                  <a:pt x="537004" y="1958027"/>
                </a:lnTo>
                <a:cubicBezTo>
                  <a:pt x="574021" y="1935377"/>
                  <a:pt x="620673" y="1935884"/>
                  <a:pt x="656676" y="1959210"/>
                </a:cubicBezTo>
                <a:lnTo>
                  <a:pt x="1175424" y="2295577"/>
                </a:lnTo>
                <a:cubicBezTo>
                  <a:pt x="1203145" y="1671354"/>
                  <a:pt x="1711244" y="1172213"/>
                  <a:pt x="2339016" y="1158691"/>
                </a:cubicBezTo>
                <a:close/>
              </a:path>
            </a:pathLst>
          </a:custGeom>
          <a:solidFill>
            <a:schemeClr val="accent5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2FBB1D8F-D3E7-CBAC-5905-E2E8F685BD7B}"/>
              </a:ext>
            </a:extLst>
          </p:cNvPr>
          <p:cNvSpPr/>
          <p:nvPr userDrawn="1"/>
        </p:nvSpPr>
        <p:spPr>
          <a:xfrm>
            <a:off x="4114428" y="3358022"/>
            <a:ext cx="1916518" cy="2251311"/>
          </a:xfrm>
          <a:custGeom>
            <a:avLst/>
            <a:gdLst>
              <a:gd name="connsiteX0" fmla="*/ 1176438 w 2288138"/>
              <a:gd name="connsiteY0" fmla="*/ 374187 h 2687849"/>
              <a:gd name="connsiteX1" fmla="*/ 601910 w 2288138"/>
              <a:gd name="connsiteY1" fmla="*/ 1648 h 2687849"/>
              <a:gd name="connsiteX2" fmla="*/ 591093 w 2288138"/>
              <a:gd name="connsiteY2" fmla="*/ 1648 h 2687849"/>
              <a:gd name="connsiteX3" fmla="*/ 0 w 2288138"/>
              <a:gd name="connsiteY3" fmla="*/ 374187 h 2687849"/>
              <a:gd name="connsiteX4" fmla="*/ 2277828 w 2288138"/>
              <a:gd name="connsiteY4" fmla="*/ 2687850 h 2687849"/>
              <a:gd name="connsiteX5" fmla="*/ 1943828 w 2288138"/>
              <a:gd name="connsiteY5" fmla="*/ 2142733 h 2687849"/>
              <a:gd name="connsiteX6" fmla="*/ 1945349 w 2288138"/>
              <a:gd name="connsiteY6" fmla="*/ 2023568 h 2687849"/>
              <a:gd name="connsiteX7" fmla="*/ 2288139 w 2288138"/>
              <a:gd name="connsiteY7" fmla="*/ 1495184 h 2687849"/>
              <a:gd name="connsiteX8" fmla="*/ 1176607 w 2288138"/>
              <a:gd name="connsiteY8" fmla="*/ 374356 h 2687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88138" h="2687849">
                <a:moveTo>
                  <a:pt x="1176438" y="374187"/>
                </a:moveTo>
                <a:lnTo>
                  <a:pt x="601910" y="1648"/>
                </a:lnTo>
                <a:cubicBezTo>
                  <a:pt x="598699" y="-549"/>
                  <a:pt x="594304" y="-549"/>
                  <a:pt x="591093" y="1648"/>
                </a:cubicBezTo>
                <a:lnTo>
                  <a:pt x="0" y="374187"/>
                </a:lnTo>
                <a:cubicBezTo>
                  <a:pt x="26537" y="1628210"/>
                  <a:pt x="1028538" y="2642212"/>
                  <a:pt x="2277828" y="2687850"/>
                </a:cubicBezTo>
                <a:lnTo>
                  <a:pt x="1943828" y="2142733"/>
                </a:lnTo>
                <a:cubicBezTo>
                  <a:pt x="1921516" y="2106392"/>
                  <a:pt x="1922023" y="2059571"/>
                  <a:pt x="1945349" y="2023568"/>
                </a:cubicBezTo>
                <a:lnTo>
                  <a:pt x="2288139" y="1495184"/>
                </a:lnTo>
                <a:cubicBezTo>
                  <a:pt x="1688764" y="1456477"/>
                  <a:pt x="1210244" y="974914"/>
                  <a:pt x="1176607" y="374356"/>
                </a:cubicBezTo>
                <a:close/>
              </a:path>
            </a:pathLst>
          </a:custGeom>
          <a:solidFill>
            <a:schemeClr val="accent3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0" name="Text Placeholder 8">
            <a:extLst>
              <a:ext uri="{FF2B5EF4-FFF2-40B4-BE49-F238E27FC236}">
                <a16:creationId xmlns:a16="http://schemas.microsoft.com/office/drawing/2014/main" id="{370D2FA8-F76D-1C23-D09D-2224F6D82F66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8351520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1" name="Text Placeholder 21">
            <a:extLst>
              <a:ext uri="{FF2B5EF4-FFF2-40B4-BE49-F238E27FC236}">
                <a16:creationId xmlns:a16="http://schemas.microsoft.com/office/drawing/2014/main" id="{8579EE86-413C-7E18-CF49-9BDDC6031797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8351520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3" name="Text Placeholder 8">
            <a:extLst>
              <a:ext uri="{FF2B5EF4-FFF2-40B4-BE49-F238E27FC236}">
                <a16:creationId xmlns:a16="http://schemas.microsoft.com/office/drawing/2014/main" id="{CCDEECAA-3990-10B8-98CA-A089BE8957D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8351520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F82CFC81-B5E4-1E73-B07B-6C3DEE4FBCAD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8351520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736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554736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0" name="Text Placeholder 8">
            <a:extLst>
              <a:ext uri="{FF2B5EF4-FFF2-40B4-BE49-F238E27FC236}">
                <a16:creationId xmlns:a16="http://schemas.microsoft.com/office/drawing/2014/main" id="{304B019F-09C4-05EC-66B5-23E8676200B2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54736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81" name="Text Placeholder 21">
            <a:extLst>
              <a:ext uri="{FF2B5EF4-FFF2-40B4-BE49-F238E27FC236}">
                <a16:creationId xmlns:a16="http://schemas.microsoft.com/office/drawing/2014/main" id="{7D271714-6038-09A7-D6BE-AE4C76E5A396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554736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6" name="Picture Placeholder 85">
            <a:extLst>
              <a:ext uri="{FF2B5EF4-FFF2-40B4-BE49-F238E27FC236}">
                <a16:creationId xmlns:a16="http://schemas.microsoft.com/office/drawing/2014/main" id="{D43BD81E-6E80-F7EA-4B35-1DF15943FC56}"/>
              </a:ext>
            </a:extLst>
          </p:cNvPr>
          <p:cNvSpPr>
            <a:spLocks noGrp="1"/>
          </p:cNvSpPr>
          <p:nvPr userDrawn="1">
            <p:ph type="pic" sz="quarter" idx="34"/>
          </p:nvPr>
        </p:nvSpPr>
        <p:spPr>
          <a:xfrm>
            <a:off x="7015954" y="2471531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7" name="Picture Placeholder 85">
            <a:extLst>
              <a:ext uri="{FF2B5EF4-FFF2-40B4-BE49-F238E27FC236}">
                <a16:creationId xmlns:a16="http://schemas.microsoft.com/office/drawing/2014/main" id="{61484D35-3E74-4C6E-9828-25C83A2A4EB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771330" y="447504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8" name="Picture Placeholder 85">
            <a:extLst>
              <a:ext uri="{FF2B5EF4-FFF2-40B4-BE49-F238E27FC236}">
                <a16:creationId xmlns:a16="http://schemas.microsoft.com/office/drawing/2014/main" id="{1930F009-DE84-DBC8-3A20-F886D492B71F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4606264" y="420665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9" name="Picture Placeholder 85">
            <a:extLst>
              <a:ext uri="{FF2B5EF4-FFF2-40B4-BE49-F238E27FC236}">
                <a16:creationId xmlns:a16="http://schemas.microsoft.com/office/drawing/2014/main" id="{F6F50A27-8175-ECD1-D22F-B1B025150FF7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888839" y="214554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0" name="Text Placeholder 21">
            <a:extLst>
              <a:ext uri="{FF2B5EF4-FFF2-40B4-BE49-F238E27FC236}">
                <a16:creationId xmlns:a16="http://schemas.microsoft.com/office/drawing/2014/main" id="{1B6E4388-5271-CF2F-7A7C-D1C93427B7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399263" y="3043240"/>
            <a:ext cx="1393475" cy="1151637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000" b="1"/>
            </a:lvl1pPr>
          </a:lstStyle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531111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6269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20F13998-F5D7-B5A2-C838-5364C4418867}"/>
              </a:ext>
            </a:extLst>
          </p:cNvPr>
          <p:cNvSpPr/>
          <p:nvPr userDrawn="1"/>
        </p:nvSpPr>
        <p:spPr>
          <a:xfrm>
            <a:off x="554038" y="2184827"/>
            <a:ext cx="11082528" cy="2735249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82528" h="2735249">
                <a:moveTo>
                  <a:pt x="85096" y="2730073"/>
                </a:moveTo>
                <a:cubicBezTo>
                  <a:pt x="38099" y="2730073"/>
                  <a:pt x="0" y="2691974"/>
                  <a:pt x="0" y="2644977"/>
                </a:cubicBezTo>
                <a:lnTo>
                  <a:pt x="0" y="85096"/>
                </a:lnTo>
                <a:cubicBezTo>
                  <a:pt x="0" y="38099"/>
                  <a:pt x="38099" y="0"/>
                  <a:pt x="85096" y="0"/>
                </a:cubicBezTo>
                <a:lnTo>
                  <a:pt x="10997432" y="0"/>
                </a:lnTo>
                <a:cubicBezTo>
                  <a:pt x="11044429" y="0"/>
                  <a:pt x="11082528" y="38099"/>
                  <a:pt x="11082528" y="85096"/>
                </a:cubicBezTo>
                <a:lnTo>
                  <a:pt x="11082528" y="2644977"/>
                </a:lnTo>
                <a:cubicBezTo>
                  <a:pt x="11082528" y="2691974"/>
                  <a:pt x="11044429" y="2730073"/>
                  <a:pt x="10997432" y="2730073"/>
                </a:cubicBezTo>
                <a:lnTo>
                  <a:pt x="7923057" y="2735249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CB49256C-B477-E7E2-CC2A-8D2962EB7AFC}"/>
              </a:ext>
            </a:extLst>
          </p:cNvPr>
          <p:cNvSpPr/>
          <p:nvPr userDrawn="1"/>
        </p:nvSpPr>
        <p:spPr>
          <a:xfrm>
            <a:off x="158760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F9F3EB9A-B1BC-6060-E184-D8F443C541C5}"/>
              </a:ext>
            </a:extLst>
          </p:cNvPr>
          <p:cNvSpPr/>
          <p:nvPr userDrawn="1"/>
        </p:nvSpPr>
        <p:spPr>
          <a:xfrm>
            <a:off x="4107889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E73BB677-44B1-ACF3-B120-1779A8BAFDAE}"/>
              </a:ext>
            </a:extLst>
          </p:cNvPr>
          <p:cNvSpPr/>
          <p:nvPr userDrawn="1"/>
        </p:nvSpPr>
        <p:spPr>
          <a:xfrm>
            <a:off x="6628172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3063532F-29F4-17B9-9BEC-03A415E01E2E}"/>
              </a:ext>
            </a:extLst>
          </p:cNvPr>
          <p:cNvSpPr/>
          <p:nvPr userDrawn="1"/>
        </p:nvSpPr>
        <p:spPr>
          <a:xfrm>
            <a:off x="914845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038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ADF4F7E-7ADD-6560-8CCF-01DA22C247BE}"/>
              </a:ext>
            </a:extLst>
          </p:cNvPr>
          <p:cNvGrpSpPr/>
          <p:nvPr userDrawn="1"/>
        </p:nvGrpSpPr>
        <p:grpSpPr>
          <a:xfrm>
            <a:off x="1657517" y="1530161"/>
            <a:ext cx="1314720" cy="1314720"/>
            <a:chOff x="1289158" y="1498411"/>
            <a:chExt cx="1314720" cy="1314720"/>
          </a:xfrm>
        </p:grpSpPr>
        <p:sp>
          <p:nvSpPr>
            <p:cNvPr id="7" name="Teardrop 6">
              <a:extLst>
                <a:ext uri="{FF2B5EF4-FFF2-40B4-BE49-F238E27FC236}">
                  <a16:creationId xmlns:a16="http://schemas.microsoft.com/office/drawing/2014/main" id="{CC3A1BC6-2B29-9B76-DBCE-9AB1004B1024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A341F276-4B71-09FE-2136-593DAA07DCC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D9D055-167D-6332-D479-7825750F5EFD}"/>
              </a:ext>
            </a:extLst>
          </p:cNvPr>
          <p:cNvGrpSpPr/>
          <p:nvPr userDrawn="1"/>
        </p:nvGrpSpPr>
        <p:grpSpPr>
          <a:xfrm>
            <a:off x="4177800" y="1530161"/>
            <a:ext cx="1314720" cy="1314720"/>
            <a:chOff x="1289158" y="1498411"/>
            <a:chExt cx="1314720" cy="1314720"/>
          </a:xfrm>
        </p:grpSpPr>
        <p:sp>
          <p:nvSpPr>
            <p:cNvPr id="13" name="Teardrop 12">
              <a:extLst>
                <a:ext uri="{FF2B5EF4-FFF2-40B4-BE49-F238E27FC236}">
                  <a16:creationId xmlns:a16="http://schemas.microsoft.com/office/drawing/2014/main" id="{A728F125-1622-AE0E-BC79-B712ED096389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9CE8D2D-D553-14D1-9B78-30E0FC435D1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A570239-88BA-7A41-74CF-4FFF8DEEAC1A}"/>
              </a:ext>
            </a:extLst>
          </p:cNvPr>
          <p:cNvGrpSpPr/>
          <p:nvPr userDrawn="1"/>
        </p:nvGrpSpPr>
        <p:grpSpPr>
          <a:xfrm>
            <a:off x="6698083" y="1530161"/>
            <a:ext cx="1314720" cy="1314720"/>
            <a:chOff x="1289158" y="1498411"/>
            <a:chExt cx="1314720" cy="1314720"/>
          </a:xfrm>
        </p:grpSpPr>
        <p:sp>
          <p:nvSpPr>
            <p:cNvPr id="16" name="Teardrop 15">
              <a:extLst>
                <a:ext uri="{FF2B5EF4-FFF2-40B4-BE49-F238E27FC236}">
                  <a16:creationId xmlns:a16="http://schemas.microsoft.com/office/drawing/2014/main" id="{245E3DE5-DF01-6BF7-C803-0BD4D3ED8DBE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C0C49-7F6F-DAC7-C424-57488F6CDC86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92EECAA-FE70-86E2-AA58-ACA9255E5CC8}"/>
              </a:ext>
            </a:extLst>
          </p:cNvPr>
          <p:cNvGrpSpPr/>
          <p:nvPr userDrawn="1"/>
        </p:nvGrpSpPr>
        <p:grpSpPr>
          <a:xfrm>
            <a:off x="9218367" y="1530161"/>
            <a:ext cx="1314720" cy="1314720"/>
            <a:chOff x="1289158" y="1498411"/>
            <a:chExt cx="1314720" cy="1314720"/>
          </a:xfrm>
        </p:grpSpPr>
        <p:sp>
          <p:nvSpPr>
            <p:cNvPr id="21" name="Teardrop 20">
              <a:extLst>
                <a:ext uri="{FF2B5EF4-FFF2-40B4-BE49-F238E27FC236}">
                  <a16:creationId xmlns:a16="http://schemas.microsoft.com/office/drawing/2014/main" id="{5F6B72E3-CC17-67AF-68B6-C06DE0E98BE3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14DCC20-A7BF-6F20-13D4-3FD7C1F56A40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FB0B99AB-888A-A99C-E114-697404C1D82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38751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21">
            <a:extLst>
              <a:ext uri="{FF2B5EF4-FFF2-40B4-BE49-F238E27FC236}">
                <a16:creationId xmlns:a16="http://schemas.microsoft.com/office/drawing/2014/main" id="{65A15C4D-C25F-FFC8-C36F-9694BF9D0B74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38751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54F1D2E0-EFA9-03D5-593F-22CF8B979237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3907802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16DBB9F7-4C27-94F1-01A1-84732A5F8EEF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3907802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3" name="Text Placeholder 8">
            <a:extLst>
              <a:ext uri="{FF2B5EF4-FFF2-40B4-BE49-F238E27FC236}">
                <a16:creationId xmlns:a16="http://schemas.microsoft.com/office/drawing/2014/main" id="{5BF1C032-9B7E-41B0-0CAE-0E46FE1D6F8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6428085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4" name="Text Placeholder 21">
            <a:extLst>
              <a:ext uri="{FF2B5EF4-FFF2-40B4-BE49-F238E27FC236}">
                <a16:creationId xmlns:a16="http://schemas.microsoft.com/office/drawing/2014/main" id="{D012FD0E-4ADA-2E07-6C12-A82A11D2FE3F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6428085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3B53F695-2468-8199-DE6D-59639E651F82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894836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2" name="Text Placeholder 21">
            <a:extLst>
              <a:ext uri="{FF2B5EF4-FFF2-40B4-BE49-F238E27FC236}">
                <a16:creationId xmlns:a16="http://schemas.microsoft.com/office/drawing/2014/main" id="{DAFAD38E-986F-8812-52F0-DE02CF114D1B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894836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67" name="Picture Placeholder 85">
            <a:extLst>
              <a:ext uri="{FF2B5EF4-FFF2-40B4-BE49-F238E27FC236}">
                <a16:creationId xmlns:a16="http://schemas.microsoft.com/office/drawing/2014/main" id="{0F7BECEE-D612-44AA-D60E-AFC4FD524612}"/>
              </a:ext>
            </a:extLst>
          </p:cNvPr>
          <p:cNvSpPr>
            <a:spLocks noGrp="1"/>
          </p:cNvSpPr>
          <p:nvPr userDrawn="1">
            <p:ph type="pic" sz="quarter" idx="37"/>
          </p:nvPr>
        </p:nvSpPr>
        <p:spPr>
          <a:xfrm>
            <a:off x="203230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8" name="Picture Placeholder 85">
            <a:extLst>
              <a:ext uri="{FF2B5EF4-FFF2-40B4-BE49-F238E27FC236}">
                <a16:creationId xmlns:a16="http://schemas.microsoft.com/office/drawing/2014/main" id="{22562D5C-4C10-43CE-4872-C6CE66CA9B6A}"/>
              </a:ext>
            </a:extLst>
          </p:cNvPr>
          <p:cNvSpPr>
            <a:spLocks noGrp="1"/>
          </p:cNvSpPr>
          <p:nvPr userDrawn="1">
            <p:ph type="pic" sz="quarter" idx="38"/>
          </p:nvPr>
        </p:nvSpPr>
        <p:spPr>
          <a:xfrm>
            <a:off x="4552585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9" name="Picture Placeholder 85">
            <a:extLst>
              <a:ext uri="{FF2B5EF4-FFF2-40B4-BE49-F238E27FC236}">
                <a16:creationId xmlns:a16="http://schemas.microsoft.com/office/drawing/2014/main" id="{56620E61-84D4-919D-6FDC-13518A572CF0}"/>
              </a:ext>
            </a:extLst>
          </p:cNvPr>
          <p:cNvSpPr>
            <a:spLocks noGrp="1"/>
          </p:cNvSpPr>
          <p:nvPr userDrawn="1">
            <p:ph type="pic" sz="quarter" idx="39"/>
          </p:nvPr>
        </p:nvSpPr>
        <p:spPr>
          <a:xfrm>
            <a:off x="7072868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0" name="Picture Placeholder 85">
            <a:extLst>
              <a:ext uri="{FF2B5EF4-FFF2-40B4-BE49-F238E27FC236}">
                <a16:creationId xmlns:a16="http://schemas.microsoft.com/office/drawing/2014/main" id="{66EA5529-31D0-B731-F699-ECA2A0FB14E7}"/>
              </a:ext>
            </a:extLst>
          </p:cNvPr>
          <p:cNvSpPr>
            <a:spLocks noGrp="1"/>
          </p:cNvSpPr>
          <p:nvPr userDrawn="1">
            <p:ph type="pic" sz="quarter" idx="40"/>
          </p:nvPr>
        </p:nvSpPr>
        <p:spPr>
          <a:xfrm>
            <a:off x="959315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B28EDEE4-3F83-F86C-CF14-7FE0C6578FF8}"/>
              </a:ext>
            </a:extLst>
          </p:cNvPr>
          <p:cNvSpPr/>
          <p:nvPr userDrawn="1"/>
        </p:nvSpPr>
        <p:spPr>
          <a:xfrm>
            <a:off x="3909338" y="4689844"/>
            <a:ext cx="4373325" cy="4634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59E4B7BB-2F10-1010-337B-C77B53540C5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909338" y="5226237"/>
            <a:ext cx="4373325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31F0A80C-A5D2-108D-AFC1-EE5820ECF55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027409" y="4739310"/>
            <a:ext cx="41371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subheading</a:t>
            </a:r>
          </a:p>
        </p:txBody>
      </p:sp>
      <p:sp>
        <p:nvSpPr>
          <p:cNvPr id="76" name="Arrow: Chevron 75">
            <a:extLst>
              <a:ext uri="{FF2B5EF4-FFF2-40B4-BE49-F238E27FC236}">
                <a16:creationId xmlns:a16="http://schemas.microsoft.com/office/drawing/2014/main" id="{48F923CD-DAEC-A86E-4927-5F6B6E0A7DCC}"/>
              </a:ext>
            </a:extLst>
          </p:cNvPr>
          <p:cNvSpPr/>
          <p:nvPr userDrawn="1"/>
        </p:nvSpPr>
        <p:spPr>
          <a:xfrm>
            <a:off x="3522676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7" name="Arrow: Chevron 76">
            <a:extLst>
              <a:ext uri="{FF2B5EF4-FFF2-40B4-BE49-F238E27FC236}">
                <a16:creationId xmlns:a16="http://schemas.microsoft.com/office/drawing/2014/main" id="{40CD6198-35A4-2ECF-17A0-701C69597352}"/>
              </a:ext>
            </a:extLst>
          </p:cNvPr>
          <p:cNvSpPr/>
          <p:nvPr userDrawn="1"/>
        </p:nvSpPr>
        <p:spPr>
          <a:xfrm>
            <a:off x="6042959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8" name="Arrow: Chevron 77">
            <a:extLst>
              <a:ext uri="{FF2B5EF4-FFF2-40B4-BE49-F238E27FC236}">
                <a16:creationId xmlns:a16="http://schemas.microsoft.com/office/drawing/2014/main" id="{08295F43-5AF3-B23A-A7A3-2D0400D1B244}"/>
              </a:ext>
            </a:extLst>
          </p:cNvPr>
          <p:cNvSpPr/>
          <p:nvPr userDrawn="1"/>
        </p:nvSpPr>
        <p:spPr>
          <a:xfrm>
            <a:off x="856324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5" name="Arrow: Chevron 74">
            <a:extLst>
              <a:ext uri="{FF2B5EF4-FFF2-40B4-BE49-F238E27FC236}">
                <a16:creationId xmlns:a16="http://schemas.microsoft.com/office/drawing/2014/main" id="{1C87EB02-EB8D-4F5A-CA26-290D303D4FC8}"/>
              </a:ext>
            </a:extLst>
          </p:cNvPr>
          <p:cNvSpPr/>
          <p:nvPr userDrawn="1"/>
        </p:nvSpPr>
        <p:spPr>
          <a:xfrm>
            <a:off x="1052634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9" name="Arrow: Chevron 78">
            <a:extLst>
              <a:ext uri="{FF2B5EF4-FFF2-40B4-BE49-F238E27FC236}">
                <a16:creationId xmlns:a16="http://schemas.microsoft.com/office/drawing/2014/main" id="{9DF6DCB5-396D-FF17-9EA5-F0A1FF90F9B3}"/>
              </a:ext>
            </a:extLst>
          </p:cNvPr>
          <p:cNvSpPr/>
          <p:nvPr userDrawn="1"/>
        </p:nvSpPr>
        <p:spPr>
          <a:xfrm>
            <a:off x="1103468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4" name="Arrow: Chevron 83">
            <a:extLst>
              <a:ext uri="{FF2B5EF4-FFF2-40B4-BE49-F238E27FC236}">
                <a16:creationId xmlns:a16="http://schemas.microsoft.com/office/drawing/2014/main" id="{5C109F63-D52D-266E-60D5-26AB12B1233F}"/>
              </a:ext>
            </a:extLst>
          </p:cNvPr>
          <p:cNvSpPr/>
          <p:nvPr userDrawn="1"/>
        </p:nvSpPr>
        <p:spPr>
          <a:xfrm flipH="1">
            <a:off x="8458557" y="4756573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5" name="Rectangle: Rounded Corners 2">
            <a:extLst>
              <a:ext uri="{FF2B5EF4-FFF2-40B4-BE49-F238E27FC236}">
                <a16:creationId xmlns:a16="http://schemas.microsoft.com/office/drawing/2014/main" id="{376A7556-0F87-ED22-DE62-FEC3B0223673}"/>
              </a:ext>
            </a:extLst>
          </p:cNvPr>
          <p:cNvSpPr/>
          <p:nvPr userDrawn="1"/>
        </p:nvSpPr>
        <p:spPr>
          <a:xfrm>
            <a:off x="684122" y="4914901"/>
            <a:ext cx="3381813" cy="5176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  <a:gd name="connsiteX0" fmla="*/ 85096 w 11082528"/>
              <a:gd name="connsiteY0" fmla="*/ 2730073 h 2735249"/>
              <a:gd name="connsiteX1" fmla="*/ 0 w 11082528"/>
              <a:gd name="connsiteY1" fmla="*/ 85096 h 2735249"/>
              <a:gd name="connsiteX2" fmla="*/ 85096 w 11082528"/>
              <a:gd name="connsiteY2" fmla="*/ 0 h 2735249"/>
              <a:gd name="connsiteX3" fmla="*/ 10997432 w 11082528"/>
              <a:gd name="connsiteY3" fmla="*/ 0 h 2735249"/>
              <a:gd name="connsiteX4" fmla="*/ 11082528 w 11082528"/>
              <a:gd name="connsiteY4" fmla="*/ 85096 h 2735249"/>
              <a:gd name="connsiteX5" fmla="*/ 11082528 w 11082528"/>
              <a:gd name="connsiteY5" fmla="*/ 2644977 h 2735249"/>
              <a:gd name="connsiteX6" fmla="*/ 10997432 w 11082528"/>
              <a:gd name="connsiteY6" fmla="*/ 2730073 h 2735249"/>
              <a:gd name="connsiteX7" fmla="*/ 7923057 w 11082528"/>
              <a:gd name="connsiteY7" fmla="*/ 2735249 h 2735249"/>
              <a:gd name="connsiteX0" fmla="*/ 0 w 11082528"/>
              <a:gd name="connsiteY0" fmla="*/ 85096 h 2735249"/>
              <a:gd name="connsiteX1" fmla="*/ 85096 w 11082528"/>
              <a:gd name="connsiteY1" fmla="*/ 0 h 2735249"/>
              <a:gd name="connsiteX2" fmla="*/ 10997432 w 11082528"/>
              <a:gd name="connsiteY2" fmla="*/ 0 h 2735249"/>
              <a:gd name="connsiteX3" fmla="*/ 11082528 w 11082528"/>
              <a:gd name="connsiteY3" fmla="*/ 85096 h 2735249"/>
              <a:gd name="connsiteX4" fmla="*/ 11082528 w 11082528"/>
              <a:gd name="connsiteY4" fmla="*/ 2644977 h 2735249"/>
              <a:gd name="connsiteX5" fmla="*/ 10997432 w 11082528"/>
              <a:gd name="connsiteY5" fmla="*/ 2730073 h 2735249"/>
              <a:gd name="connsiteX6" fmla="*/ 7923057 w 11082528"/>
              <a:gd name="connsiteY6" fmla="*/ 2735249 h 2735249"/>
              <a:gd name="connsiteX0" fmla="*/ 0 w 11082528"/>
              <a:gd name="connsiteY0" fmla="*/ 85096 h 2735249"/>
              <a:gd name="connsiteX1" fmla="*/ 10997432 w 11082528"/>
              <a:gd name="connsiteY1" fmla="*/ 0 h 2735249"/>
              <a:gd name="connsiteX2" fmla="*/ 11082528 w 11082528"/>
              <a:gd name="connsiteY2" fmla="*/ 85096 h 2735249"/>
              <a:gd name="connsiteX3" fmla="*/ 11082528 w 11082528"/>
              <a:gd name="connsiteY3" fmla="*/ 2644977 h 2735249"/>
              <a:gd name="connsiteX4" fmla="*/ 10997432 w 11082528"/>
              <a:gd name="connsiteY4" fmla="*/ 2730073 h 2735249"/>
              <a:gd name="connsiteX5" fmla="*/ 7923057 w 11082528"/>
              <a:gd name="connsiteY5" fmla="*/ 2735249 h 2735249"/>
              <a:gd name="connsiteX0" fmla="*/ 3074375 w 3159471"/>
              <a:gd name="connsiteY0" fmla="*/ 0 h 2735249"/>
              <a:gd name="connsiteX1" fmla="*/ 3159471 w 3159471"/>
              <a:gd name="connsiteY1" fmla="*/ 85096 h 2735249"/>
              <a:gd name="connsiteX2" fmla="*/ 3159471 w 3159471"/>
              <a:gd name="connsiteY2" fmla="*/ 2644977 h 2735249"/>
              <a:gd name="connsiteX3" fmla="*/ 3074375 w 3159471"/>
              <a:gd name="connsiteY3" fmla="*/ 2730073 h 2735249"/>
              <a:gd name="connsiteX4" fmla="*/ 0 w 3159471"/>
              <a:gd name="connsiteY4" fmla="*/ 2735249 h 2735249"/>
              <a:gd name="connsiteX0" fmla="*/ 3159471 w 3159471"/>
              <a:gd name="connsiteY0" fmla="*/ 0 h 2650153"/>
              <a:gd name="connsiteX1" fmla="*/ 3159471 w 3159471"/>
              <a:gd name="connsiteY1" fmla="*/ 2559881 h 2650153"/>
              <a:gd name="connsiteX2" fmla="*/ 3074375 w 3159471"/>
              <a:gd name="connsiteY2" fmla="*/ 2644977 h 2650153"/>
              <a:gd name="connsiteX3" fmla="*/ 0 w 3159471"/>
              <a:gd name="connsiteY3" fmla="*/ 2650153 h 2650153"/>
              <a:gd name="connsiteX0" fmla="*/ 3159471 w 3159471"/>
              <a:gd name="connsiteY0" fmla="*/ 0 h 90272"/>
              <a:gd name="connsiteX1" fmla="*/ 3074375 w 3159471"/>
              <a:gd name="connsiteY1" fmla="*/ 85096 h 90272"/>
              <a:gd name="connsiteX2" fmla="*/ 0 w 3159471"/>
              <a:gd name="connsiteY2" fmla="*/ 90272 h 90272"/>
              <a:gd name="connsiteX0" fmla="*/ 3074375 w 3074375"/>
              <a:gd name="connsiteY0" fmla="*/ 0 h 5176"/>
              <a:gd name="connsiteX1" fmla="*/ 0 w 3074375"/>
              <a:gd name="connsiteY1" fmla="*/ 5176 h 5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074375" h="5176">
                <a:moveTo>
                  <a:pt x="3074375" y="0"/>
                </a:moveTo>
                <a:lnTo>
                  <a:pt x="0" y="5176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2FD1D159-C7CA-C3AB-9EC4-DC4FBBA2CE86}"/>
              </a:ext>
            </a:extLst>
          </p:cNvPr>
          <p:cNvCxnSpPr>
            <a:cxnSpLocks/>
          </p:cNvCxnSpPr>
          <p:nvPr userDrawn="1"/>
        </p:nvCxnSpPr>
        <p:spPr>
          <a:xfrm>
            <a:off x="3575019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6B366E0D-7B07-A66C-DDC5-4A321F5134F1}"/>
              </a:ext>
            </a:extLst>
          </p:cNvPr>
          <p:cNvCxnSpPr>
            <a:cxnSpLocks/>
          </p:cNvCxnSpPr>
          <p:nvPr userDrawn="1"/>
        </p:nvCxnSpPr>
        <p:spPr>
          <a:xfrm>
            <a:off x="6095301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1D0E8D2C-BA9D-DDF4-6775-979E04F0EDBA}"/>
              </a:ext>
            </a:extLst>
          </p:cNvPr>
          <p:cNvCxnSpPr>
            <a:cxnSpLocks/>
          </p:cNvCxnSpPr>
          <p:nvPr userDrawn="1"/>
        </p:nvCxnSpPr>
        <p:spPr>
          <a:xfrm>
            <a:off x="8615585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9123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510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2" name="Shape0_20250711_050203">
            <a:extLst>
              <a:ext uri="{FF2B5EF4-FFF2-40B4-BE49-F238E27FC236}">
                <a16:creationId xmlns:a16="http://schemas.microsoft.com/office/drawing/2014/main" id="{417D640B-9085-372A-ADFD-25849CF9C4F3}"/>
              </a:ext>
            </a:extLst>
          </p:cNvPr>
          <p:cNvCxnSpPr>
            <a:cxnSpLocks/>
            <a:stCxn id="71" idx="2"/>
            <a:endCxn id="26" idx="0"/>
          </p:cNvCxnSpPr>
          <p:nvPr userDrawn="1"/>
        </p:nvCxnSpPr>
        <p:spPr>
          <a:xfrm flipH="1">
            <a:off x="166298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F7ED23E-D711-5C72-D556-7399B1346595}"/>
              </a:ext>
            </a:extLst>
          </p:cNvPr>
          <p:cNvCxnSpPr>
            <a:cxnSpLocks/>
            <a:stCxn id="29" idx="2"/>
            <a:endCxn id="14" idx="0"/>
          </p:cNvCxnSpPr>
          <p:nvPr userDrawn="1"/>
        </p:nvCxnSpPr>
        <p:spPr>
          <a:xfrm>
            <a:off x="387949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0D0A5C2-3310-5C6C-4565-DCD15A1734F8}"/>
              </a:ext>
            </a:extLst>
          </p:cNvPr>
          <p:cNvCxnSpPr>
            <a:cxnSpLocks/>
          </p:cNvCxnSpPr>
          <p:nvPr userDrawn="1"/>
        </p:nvCxnSpPr>
        <p:spPr>
          <a:xfrm>
            <a:off x="831250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hape1_20250711_050203">
            <a:extLst>
              <a:ext uri="{FF2B5EF4-FFF2-40B4-BE49-F238E27FC236}">
                <a16:creationId xmlns:a16="http://schemas.microsoft.com/office/drawing/2014/main" id="{6519E15A-E00F-2D55-1D22-DC86DB0A7774}"/>
              </a:ext>
            </a:extLst>
          </p:cNvPr>
          <p:cNvCxnSpPr>
            <a:cxnSpLocks/>
          </p:cNvCxnSpPr>
          <p:nvPr userDrawn="1"/>
        </p:nvCxnSpPr>
        <p:spPr>
          <a:xfrm flipH="1">
            <a:off x="609599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hape2_20250711_050203">
            <a:extLst>
              <a:ext uri="{FF2B5EF4-FFF2-40B4-BE49-F238E27FC236}">
                <a16:creationId xmlns:a16="http://schemas.microsoft.com/office/drawing/2014/main" id="{58B29640-4758-354E-2CEA-11026B2056C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529010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65548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65548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A55C186-ECA8-8090-4A67-8AE772FBEB2E}"/>
              </a:ext>
            </a:extLst>
          </p:cNvPr>
          <p:cNvGrpSpPr/>
          <p:nvPr userDrawn="1"/>
        </p:nvGrpSpPr>
        <p:grpSpPr>
          <a:xfrm>
            <a:off x="554735" y="3604878"/>
            <a:ext cx="11082528" cy="223524"/>
            <a:chOff x="554735" y="2839451"/>
            <a:chExt cx="11082528" cy="22352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D84834F-1807-3021-3E4A-64DE709F3114}"/>
                </a:ext>
              </a:extLst>
            </p:cNvPr>
            <p:cNvSpPr/>
            <p:nvPr userDrawn="1"/>
          </p:nvSpPr>
          <p:spPr>
            <a:xfrm>
              <a:off x="554735" y="2839451"/>
              <a:ext cx="2216506" cy="22352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D0C3D77-AF9B-E0D8-024A-FCDD1E795668}"/>
                </a:ext>
              </a:extLst>
            </p:cNvPr>
            <p:cNvSpPr/>
            <p:nvPr userDrawn="1"/>
          </p:nvSpPr>
          <p:spPr>
            <a:xfrm>
              <a:off x="2771241" y="2839451"/>
              <a:ext cx="2216506" cy="22352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D1E454B-5394-5CF4-D6BD-5D8920D2FE65}"/>
                </a:ext>
              </a:extLst>
            </p:cNvPr>
            <p:cNvSpPr/>
            <p:nvPr userDrawn="1"/>
          </p:nvSpPr>
          <p:spPr>
            <a:xfrm>
              <a:off x="4987746" y="2839451"/>
              <a:ext cx="2216506" cy="22352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8606DB9-7792-32DE-06C3-5643636BEB8E}"/>
                </a:ext>
              </a:extLst>
            </p:cNvPr>
            <p:cNvSpPr/>
            <p:nvPr userDrawn="1"/>
          </p:nvSpPr>
          <p:spPr>
            <a:xfrm>
              <a:off x="7204252" y="2839451"/>
              <a:ext cx="2216506" cy="22352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4086836-F79C-E515-29D9-8C5F0D165B89}"/>
                </a:ext>
              </a:extLst>
            </p:cNvPr>
            <p:cNvSpPr/>
            <p:nvPr userDrawn="1"/>
          </p:nvSpPr>
          <p:spPr>
            <a:xfrm>
              <a:off x="9420757" y="2839451"/>
              <a:ext cx="2216506" cy="22352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B216210-1912-111C-1A2D-4841028245E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7199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27C45171-0E0A-42A5-CCE4-D8B36EE8896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87199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FBCD26D6-C9D1-3EF4-F0B6-FF671CFA546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8849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EF64516B-1293-89EF-36FA-3FA854CF162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8849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D2E910F-FE27-3B44-EC8F-AC3FA0889B9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0500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7160428-4E20-72AC-29CD-F07784D0E46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30500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E3702938-5CDC-0662-E1AB-F1B2E3B0D5C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21508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CF229C9C-B069-59EE-7284-AD256B9D342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521508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413DEFF-6C7D-8725-80E6-BB847FE75CC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485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7FDF55B-CA47-46ED-BA08-F3A7BCC18F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0786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D15AD400-86FB-2079-B957-72D421E06F3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840872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tx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FE3DE3E7-A80D-8B18-DE47-553C500DB46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19135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D38B806-62D5-A163-4C64-02630202FD3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2436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9927C83-0AD8-BC9E-A02C-6876E9009553}"/>
              </a:ext>
            </a:extLst>
          </p:cNvPr>
          <p:cNvSpPr/>
          <p:nvPr userDrawn="1"/>
        </p:nvSpPr>
        <p:spPr>
          <a:xfrm rot="2724341">
            <a:off x="1530218" y="3581408"/>
            <a:ext cx="265542" cy="270464"/>
          </a:xfrm>
          <a:prstGeom prst="rect">
            <a:avLst/>
          </a:prstGeom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2C4446E-F641-D64A-A7ED-9649DAA4A9EF}"/>
              </a:ext>
            </a:extLst>
          </p:cNvPr>
          <p:cNvSpPr/>
          <p:nvPr userDrawn="1"/>
        </p:nvSpPr>
        <p:spPr>
          <a:xfrm rot="2724341">
            <a:off x="3746724" y="3581408"/>
            <a:ext cx="265542" cy="270464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96365CB-98D0-B46D-6AF9-FED2D2F8AF61}"/>
              </a:ext>
            </a:extLst>
          </p:cNvPr>
          <p:cNvSpPr/>
          <p:nvPr userDrawn="1"/>
        </p:nvSpPr>
        <p:spPr>
          <a:xfrm rot="2724341">
            <a:off x="5963229" y="3581408"/>
            <a:ext cx="265542" cy="270464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F2B870D-C3A8-2404-81F9-54C8ED30E390}"/>
              </a:ext>
            </a:extLst>
          </p:cNvPr>
          <p:cNvSpPr/>
          <p:nvPr userDrawn="1"/>
        </p:nvSpPr>
        <p:spPr>
          <a:xfrm rot="2724341">
            <a:off x="8179735" y="3581408"/>
            <a:ext cx="265542" cy="270464"/>
          </a:xfrm>
          <a:prstGeom prst="rect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49E4E4A-8FE4-1092-D2F8-C2747D89D611}"/>
              </a:ext>
            </a:extLst>
          </p:cNvPr>
          <p:cNvSpPr/>
          <p:nvPr userDrawn="1"/>
        </p:nvSpPr>
        <p:spPr>
          <a:xfrm rot="2724341">
            <a:off x="10396240" y="3581408"/>
            <a:ext cx="265542" cy="270464"/>
          </a:xfrm>
          <a:prstGeom prst="rect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265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71CD64A-5BA3-10EF-8CDA-EF19AA2CF9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0534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13323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327508AA-7CCC-DDBD-67EA-A60C9DEBDC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274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274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274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533400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A2EBE59-2BD2-90D5-E374-CE7335FC48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63838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6E011C60-4EA9-84A9-B1EB-1E69801ED80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63838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FAF16C9-8A4D-56EF-77E6-55AEDD8CB48E}"/>
              </a:ext>
            </a:extLst>
          </p:cNvPr>
          <p:cNvSpPr/>
          <p:nvPr userDrawn="1"/>
        </p:nvSpPr>
        <p:spPr>
          <a:xfrm>
            <a:off x="4376964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4479D37-58F2-437B-CE44-7ED806BEC38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42763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4DBAB8DF-A491-0753-CEA7-5A5F0367E6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42763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9FF56C7-F944-179F-5D4C-9CA026D2B8DC}"/>
              </a:ext>
            </a:extLst>
          </p:cNvPr>
          <p:cNvSpPr/>
          <p:nvPr userDrawn="1"/>
        </p:nvSpPr>
        <p:spPr>
          <a:xfrm>
            <a:off x="8255889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C39FC6D9-8379-9540-0CD0-F4FA88FF2E5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63838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FF6AE3DA-334A-A383-7429-2C940B8FA4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42763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2C3F7D16-690B-740E-254B-4B188947F61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0274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6430FC16-8893-C719-353F-400FE0C208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20274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5FDA7A4B-32C9-5526-6A23-151274DE1DD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20274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56C5E40-751F-38FC-EA77-EE500CF6B7CF}"/>
              </a:ext>
            </a:extLst>
          </p:cNvPr>
          <p:cNvSpPr/>
          <p:nvPr userDrawn="1"/>
        </p:nvSpPr>
        <p:spPr>
          <a:xfrm>
            <a:off x="533400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68AC8B70-6AF9-D4E3-2E5B-FF3A062906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63838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4F5E3312-E108-8FCC-300B-A5CEC103911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63838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2497E2C-20E5-7F9F-466E-9C6BFE2FA126}"/>
              </a:ext>
            </a:extLst>
          </p:cNvPr>
          <p:cNvSpPr/>
          <p:nvPr userDrawn="1"/>
        </p:nvSpPr>
        <p:spPr>
          <a:xfrm>
            <a:off x="4376964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0F2D720F-D357-4E54-B586-3CFC1D81C7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442763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9952ECF5-5382-C476-190E-11B36E31BE4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42763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6C4DC88-634E-9F4E-5EF1-65388ECF6810}"/>
              </a:ext>
            </a:extLst>
          </p:cNvPr>
          <p:cNvSpPr/>
          <p:nvPr userDrawn="1"/>
        </p:nvSpPr>
        <p:spPr>
          <a:xfrm>
            <a:off x="8255889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86E56AD2-CA25-20C8-1B34-DC5B926083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63838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E1ADEB14-CDAD-4127-9B9B-B22D9CAAF0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442763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BB97BB45-E59E-3F29-74ED-41C9963F7C3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20274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E6038A7E-13BB-E078-5668-0CA8FF46383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20274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BEDAB926-4DEB-1846-2B0C-2BBDAE9AC59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20274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5EDC272-F821-5B4A-7E00-4DCE8B7E4C1A}"/>
              </a:ext>
            </a:extLst>
          </p:cNvPr>
          <p:cNvSpPr/>
          <p:nvPr userDrawn="1"/>
        </p:nvSpPr>
        <p:spPr>
          <a:xfrm>
            <a:off x="533400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FF13691D-8568-22C4-A36D-9E14BA54B97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563838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9C35FA8F-9C3E-09E9-2C7A-AB4CE96AF5E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63838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A14546F-39D4-6961-CA92-94BA05AA61B3}"/>
              </a:ext>
            </a:extLst>
          </p:cNvPr>
          <p:cNvSpPr/>
          <p:nvPr userDrawn="1"/>
        </p:nvSpPr>
        <p:spPr>
          <a:xfrm>
            <a:off x="4376964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9">
            <a:extLst>
              <a:ext uri="{FF2B5EF4-FFF2-40B4-BE49-F238E27FC236}">
                <a16:creationId xmlns:a16="http://schemas.microsoft.com/office/drawing/2014/main" id="{4E6EE1FF-B9E0-52C2-9D42-3F8EF9195EF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442763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5" name="Text Placeholder 9">
            <a:extLst>
              <a:ext uri="{FF2B5EF4-FFF2-40B4-BE49-F238E27FC236}">
                <a16:creationId xmlns:a16="http://schemas.microsoft.com/office/drawing/2014/main" id="{16300207-50D1-6344-9BED-165C4DFF08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42763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BE7ECE1-A4A8-B2DC-67FB-A29812E62477}"/>
              </a:ext>
            </a:extLst>
          </p:cNvPr>
          <p:cNvSpPr/>
          <p:nvPr userDrawn="1"/>
        </p:nvSpPr>
        <p:spPr>
          <a:xfrm>
            <a:off x="8255889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 Placeholder 9">
            <a:extLst>
              <a:ext uri="{FF2B5EF4-FFF2-40B4-BE49-F238E27FC236}">
                <a16:creationId xmlns:a16="http://schemas.microsoft.com/office/drawing/2014/main" id="{8A96F7D1-8116-7E59-147A-F1BEA49F762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563838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A76312CF-5FAB-4F32-3C5E-95E10863D2F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442763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</p:spTree>
    <p:extLst>
      <p:ext uri="{BB962C8B-B14F-4D97-AF65-F5344CB8AC3E}">
        <p14:creationId xmlns:p14="http://schemas.microsoft.com/office/powerpoint/2010/main" val="3285855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36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4038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91501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6DAE231-8610-0A5E-3FED-7F1AB79A759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12282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73F55B-9A7B-FABF-32A7-94A47ADC57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49745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1055763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29E7E9C-42E9-6202-5259-E03A9B987437}"/>
              </a:ext>
            </a:extLst>
          </p:cNvPr>
          <p:cNvSpPr/>
          <p:nvPr userDrawn="1"/>
        </p:nvSpPr>
        <p:spPr>
          <a:xfrm>
            <a:off x="7314007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0DE58E85-C27E-3475-ACE4-2DFA40F7972E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54038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51" name="Text Placeholder 9">
            <a:extLst>
              <a:ext uri="{FF2B5EF4-FFF2-40B4-BE49-F238E27FC236}">
                <a16:creationId xmlns:a16="http://schemas.microsoft.com/office/drawing/2014/main" id="{D3D82929-6F3D-1224-2DCF-82CB43FC408F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1291501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3" name="Text Placeholder 9">
            <a:extLst>
              <a:ext uri="{FF2B5EF4-FFF2-40B4-BE49-F238E27FC236}">
                <a16:creationId xmlns:a16="http://schemas.microsoft.com/office/drawing/2014/main" id="{238661C9-D167-131F-B482-71E5F390FC82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6812282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54" name="Text Placeholder 9">
            <a:extLst>
              <a:ext uri="{FF2B5EF4-FFF2-40B4-BE49-F238E27FC236}">
                <a16:creationId xmlns:a16="http://schemas.microsoft.com/office/drawing/2014/main" id="{B92D0ADD-1FF7-241C-4D91-080AC50B74BE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7549745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194FBE0-4D4A-DAA7-E8E4-D22B926FB769}"/>
              </a:ext>
            </a:extLst>
          </p:cNvPr>
          <p:cNvSpPr/>
          <p:nvPr userDrawn="1"/>
        </p:nvSpPr>
        <p:spPr>
          <a:xfrm>
            <a:off x="1055763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5D6E4ADC-EDB9-B7B4-1124-0D569330C5B6}"/>
              </a:ext>
            </a:extLst>
          </p:cNvPr>
          <p:cNvSpPr/>
          <p:nvPr userDrawn="1"/>
        </p:nvSpPr>
        <p:spPr>
          <a:xfrm>
            <a:off x="7314007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 Placeholder 9">
            <a:extLst>
              <a:ext uri="{FF2B5EF4-FFF2-40B4-BE49-F238E27FC236}">
                <a16:creationId xmlns:a16="http://schemas.microsoft.com/office/drawing/2014/main" id="{98E7E923-2A7F-CF3D-3A76-3C5160B0F544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038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835C8540-35E0-E012-893C-740EF154AB40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291501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9" name="Text Placeholder 9">
            <a:extLst>
              <a:ext uri="{FF2B5EF4-FFF2-40B4-BE49-F238E27FC236}">
                <a16:creationId xmlns:a16="http://schemas.microsoft.com/office/drawing/2014/main" id="{BB6114B5-5F17-94A6-DF03-EE58A2FC3CF1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6812282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60" name="Text Placeholder 9">
            <a:extLst>
              <a:ext uri="{FF2B5EF4-FFF2-40B4-BE49-F238E27FC236}">
                <a16:creationId xmlns:a16="http://schemas.microsoft.com/office/drawing/2014/main" id="{BEE27270-ED62-7032-2A13-56F12F14EFA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7549745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8858D0D-62AE-7FDB-41A0-B09F44886324}"/>
              </a:ext>
            </a:extLst>
          </p:cNvPr>
          <p:cNvSpPr/>
          <p:nvPr userDrawn="1"/>
        </p:nvSpPr>
        <p:spPr>
          <a:xfrm>
            <a:off x="1055763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3105626-5BB4-1B0F-8F9D-A45CD36D78AE}"/>
              </a:ext>
            </a:extLst>
          </p:cNvPr>
          <p:cNvSpPr/>
          <p:nvPr userDrawn="1"/>
        </p:nvSpPr>
        <p:spPr>
          <a:xfrm>
            <a:off x="7314007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Text Placeholder 9">
            <a:extLst>
              <a:ext uri="{FF2B5EF4-FFF2-40B4-BE49-F238E27FC236}">
                <a16:creationId xmlns:a16="http://schemas.microsoft.com/office/drawing/2014/main" id="{3550EE5F-C734-BBB8-8A61-72AC8B304544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554038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63" name="Text Placeholder 9">
            <a:extLst>
              <a:ext uri="{FF2B5EF4-FFF2-40B4-BE49-F238E27FC236}">
                <a16:creationId xmlns:a16="http://schemas.microsoft.com/office/drawing/2014/main" id="{525CBAA9-F5D8-CB39-8DDB-A59EAB4D3F3B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1291501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5" name="Text Placeholder 9">
            <a:extLst>
              <a:ext uri="{FF2B5EF4-FFF2-40B4-BE49-F238E27FC236}">
                <a16:creationId xmlns:a16="http://schemas.microsoft.com/office/drawing/2014/main" id="{256CD779-AF46-E18D-857E-71CE59B07CCD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6812282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  <p:sp>
        <p:nvSpPr>
          <p:cNvPr id="66" name="Text Placeholder 9">
            <a:extLst>
              <a:ext uri="{FF2B5EF4-FFF2-40B4-BE49-F238E27FC236}">
                <a16:creationId xmlns:a16="http://schemas.microsoft.com/office/drawing/2014/main" id="{F1713CDC-5256-1A2E-C021-8AD082D69D49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7549745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57FFD8C-0E8E-0D23-F4D8-3A207B927DE9}"/>
              </a:ext>
            </a:extLst>
          </p:cNvPr>
          <p:cNvSpPr/>
          <p:nvPr userDrawn="1"/>
        </p:nvSpPr>
        <p:spPr>
          <a:xfrm>
            <a:off x="1055763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9335B152-CFB5-EE81-2F9C-34B24A4F0DEB}"/>
              </a:ext>
            </a:extLst>
          </p:cNvPr>
          <p:cNvSpPr/>
          <p:nvPr userDrawn="1"/>
        </p:nvSpPr>
        <p:spPr>
          <a:xfrm>
            <a:off x="7314007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Text Placeholder 9">
            <a:extLst>
              <a:ext uri="{FF2B5EF4-FFF2-40B4-BE49-F238E27FC236}">
                <a16:creationId xmlns:a16="http://schemas.microsoft.com/office/drawing/2014/main" id="{1124B51A-6C96-2460-25EA-3AE34E209A80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554038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69" name="Text Placeholder 9">
            <a:extLst>
              <a:ext uri="{FF2B5EF4-FFF2-40B4-BE49-F238E27FC236}">
                <a16:creationId xmlns:a16="http://schemas.microsoft.com/office/drawing/2014/main" id="{D85C6723-ECBE-A34C-0D61-4B45D17744BD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1291501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1" name="Text Placeholder 9">
            <a:extLst>
              <a:ext uri="{FF2B5EF4-FFF2-40B4-BE49-F238E27FC236}">
                <a16:creationId xmlns:a16="http://schemas.microsoft.com/office/drawing/2014/main" id="{86AF0BFB-0105-6069-F31A-CDC7E2F83D9B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6812282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10</a:t>
            </a:r>
          </a:p>
        </p:txBody>
      </p:sp>
      <p:sp>
        <p:nvSpPr>
          <p:cNvPr id="72" name="Text Placeholder 9">
            <a:extLst>
              <a:ext uri="{FF2B5EF4-FFF2-40B4-BE49-F238E27FC236}">
                <a16:creationId xmlns:a16="http://schemas.microsoft.com/office/drawing/2014/main" id="{619D5789-D789-55D5-B63E-988C8435D7E0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7549745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CD3A5B2-D224-B3CB-40BD-AA46C95B2CB7}"/>
              </a:ext>
            </a:extLst>
          </p:cNvPr>
          <p:cNvSpPr/>
          <p:nvPr userDrawn="1"/>
        </p:nvSpPr>
        <p:spPr>
          <a:xfrm>
            <a:off x="1055763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287AAFAE-7215-488F-170B-9FAAA10697D6}"/>
              </a:ext>
            </a:extLst>
          </p:cNvPr>
          <p:cNvSpPr/>
          <p:nvPr userDrawn="1"/>
        </p:nvSpPr>
        <p:spPr>
          <a:xfrm>
            <a:off x="7314007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793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736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398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3524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645BCEB-6F21-197B-7F89-587887F8516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29FFAACD-9306-9BC7-B887-2999229C1F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321059"/>
            <a:ext cx="1539375" cy="873677"/>
          </a:xfrm>
        </p:spPr>
        <p:txBody>
          <a:bodyPr vert="horz" anchor="b">
            <a:no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xx</a:t>
            </a:r>
            <a:endParaRPr lang="en-IN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5" y="3351906"/>
            <a:ext cx="5120775" cy="1344168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Divider subtitle style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0402655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0576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19C570-D534-3388-D34B-391E113C4C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3D7D8E4-8D6F-1862-F875-A27E4FDBEC6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6" y="3983278"/>
            <a:ext cx="3873274" cy="719351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hank you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9500701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182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82C07989-8625-2FDB-32E2-8A354184770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4971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r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7687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7829550" y="0"/>
            <a:ext cx="436245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7014464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6324229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70144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7014464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8105775" y="6324229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05774" y="1720091"/>
            <a:ext cx="3531489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05774" y="1237703"/>
            <a:ext cx="3531489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8105775" y="1119846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420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7F319BE-A26F-1CF2-2F64-9A9432F382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82406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47" imgH="348" progId="TCLayout.ActiveDocument.1">
                  <p:embed/>
                </p:oleObj>
              </mc:Choice>
              <mc:Fallback>
                <p:oleObj name="think-cell Slide" r:id="rId3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E82C34-4D16-6AAE-7A62-CCFA35502B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917C90-98A0-6B64-D5B1-7973B1C38A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06AA2D-045D-CF4D-8A92-110F0447A6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96E627-25B5-391E-F830-CAA9316EFF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ct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54CDAA-EDD8-A25B-0DA3-A851E9E716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45556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80" r:id="rId4"/>
    <p:sldLayoutId id="2147483684" r:id="rId5"/>
    <p:sldLayoutId id="2147483651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7" r:id="rId13"/>
    <p:sldLayoutId id="2147483668" r:id="rId14"/>
    <p:sldLayoutId id="2147483669" r:id="rId15"/>
    <p:sldLayoutId id="2147483692" r:id="rId16"/>
    <p:sldLayoutId id="2147483670" r:id="rId17"/>
    <p:sldLayoutId id="2147483694" r:id="rId18"/>
    <p:sldLayoutId id="2147483683" r:id="rId19"/>
    <p:sldLayoutId id="2147483695" r:id="rId20"/>
    <p:sldLayoutId id="2147483685" r:id="rId21"/>
    <p:sldLayoutId id="2147483691" r:id="rId22"/>
    <p:sldLayoutId id="2147483682" r:id="rId23"/>
    <p:sldLayoutId id="2147483671" r:id="rId24"/>
    <p:sldLayoutId id="2147483693" r:id="rId25"/>
    <p:sldLayoutId id="2147483672" r:id="rId26"/>
    <p:sldLayoutId id="2147483678" r:id="rId27"/>
    <p:sldLayoutId id="2147483673" r:id="rId28"/>
    <p:sldLayoutId id="2147483674" r:id="rId29"/>
    <p:sldLayoutId id="2147483675" r:id="rId30"/>
    <p:sldLayoutId id="2147483677" r:id="rId31"/>
    <p:sldLayoutId id="2147483676" r:id="rId32"/>
    <p:sldLayoutId id="2147483659" r:id="rId3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13.xml"/><Relationship Id="rId6" Type="http://schemas.openxmlformats.org/officeDocument/2006/relationships/chart" Target="../charts/chart2.xml"/><Relationship Id="rId5" Type="http://schemas.openxmlformats.org/officeDocument/2006/relationships/chart" Target="../charts/chart1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9675E4A-A18A-6176-D269-A273CE38E2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B79339E-F78A-EF7F-AD0D-B665E46EAA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79339E-F78A-EF7F-AD0D-B665E46EAA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itle 1">
            <a:extLst>
              <a:ext uri="{FF2B5EF4-FFF2-40B4-BE49-F238E27FC236}">
                <a16:creationId xmlns:a16="http://schemas.microsoft.com/office/drawing/2014/main" id="{CD3617BE-2726-AAB3-3268-1C942BE7DF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2-Clustered Column Charts</a:t>
            </a:r>
            <a:endParaRPr lang="en-IN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3ECD998F-069C-3A63-7B8D-C9F534A3C2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1</a:t>
            </a:fld>
            <a:endParaRPr lang="en-IN"/>
          </a:p>
        </p:txBody>
      </p:sp>
      <p:sp>
        <p:nvSpPr>
          <p:cNvPr id="12" name="Text Placeholder 35">
            <a:extLst>
              <a:ext uri="{FF2B5EF4-FFF2-40B4-BE49-F238E27FC236}">
                <a16:creationId xmlns:a16="http://schemas.microsoft.com/office/drawing/2014/main" id="{9890F59D-8421-CC62-F83C-8C98A3A004E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/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BCFB9589-3250-70C3-558A-B5BCB387BDB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sp>
        <p:nvSpPr>
          <p:cNvPr id="36" name="Text Placeholder 8">
            <a:extLst>
              <a:ext uri="{FF2B5EF4-FFF2-40B4-BE49-F238E27FC236}">
                <a16:creationId xmlns:a16="http://schemas.microsoft.com/office/drawing/2014/main" id="{E93DEEF4-E223-8651-6D2E-B861BB2E0D4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graphicFrame>
        <p:nvGraphicFramePr>
          <p:cNvPr id="2" name="Chart Placeholder 6">
            <a:extLst>
              <a:ext uri="{FF2B5EF4-FFF2-40B4-BE49-F238E27FC236}">
                <a16:creationId xmlns:a16="http://schemas.microsoft.com/office/drawing/2014/main" id="{095E9498-AB70-92D9-4660-8F57DDEC0EA4}"/>
              </a:ext>
            </a:extLst>
          </p:cNvPr>
          <p:cNvGraphicFramePr>
            <a:graphicFrameLocks noGrp="1"/>
          </p:cNvGraphicFramePr>
          <p:nvPr>
            <p:ph type="chart" sz="quarter" idx="14"/>
          </p:nvPr>
        </p:nvGraphicFramePr>
        <p:xfrm>
          <a:off x="554038" y="1720850"/>
          <a:ext cx="5245100" cy="4456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8" name="Chart Placeholder 6">
            <a:extLst>
              <a:ext uri="{FF2B5EF4-FFF2-40B4-BE49-F238E27FC236}">
                <a16:creationId xmlns:a16="http://schemas.microsoft.com/office/drawing/2014/main" id="{319096B8-43B9-8E28-189B-94FD10CF26D3}"/>
              </a:ext>
            </a:extLst>
          </p:cNvPr>
          <p:cNvGraphicFramePr>
            <a:graphicFrameLocks noGrp="1"/>
          </p:cNvGraphicFramePr>
          <p:nvPr>
            <p:ph type="chart" sz="quarter" idx="17"/>
          </p:nvPr>
        </p:nvGraphicFramePr>
        <p:xfrm>
          <a:off x="6392863" y="1720850"/>
          <a:ext cx="5245100" cy="4456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73052554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heme/theme1.xml><?xml version="1.0" encoding="utf-8"?>
<a:theme xmlns:a="http://schemas.openxmlformats.org/drawingml/2006/main" name="Office Theme">
  <a:themeElements>
    <a:clrScheme name="Custom 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41E37"/>
      </a:accent1>
      <a:accent2>
        <a:srgbClr val="0C3392"/>
      </a:accent2>
      <a:accent3>
        <a:srgbClr val="00B0F0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10</TotalTime>
  <Words>21</Words>
  <Application>Microsoft Office PowerPoint</Application>
  <PresentationFormat>Widescreen</PresentationFormat>
  <Paragraphs>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ptos</vt:lpstr>
      <vt:lpstr>Arial</vt:lpstr>
      <vt:lpstr>Calibri</vt:lpstr>
      <vt:lpstr>Georgia</vt:lpstr>
      <vt:lpstr>Office Theme</vt:lpstr>
      <vt:lpstr>think-cell Slide</vt:lpstr>
      <vt:lpstr>2-Clustered Column Chart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Analyst Academy LLC</dc:creator>
  <cp:keywords/>
  <dc:description/>
  <cp:lastModifiedBy>Diam Cabatay</cp:lastModifiedBy>
  <cp:revision>233</cp:revision>
  <dcterms:created xsi:type="dcterms:W3CDTF">2025-07-09T10:57:17Z</dcterms:created>
  <dcterms:modified xsi:type="dcterms:W3CDTF">2025-10-22T10:04:57Z</dcterms:modified>
  <cp:category/>
</cp:coreProperties>
</file>